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4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5.xml" ContentType="application/vnd.openxmlformats-officedocument.presentationml.notesSlide+xml"/>
  <Override PartName="/ppt/tags/tag2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295" r:id="rId2"/>
    <p:sldId id="309" r:id="rId3"/>
    <p:sldId id="299" r:id="rId4"/>
    <p:sldId id="304" r:id="rId5"/>
    <p:sldId id="298" r:id="rId6"/>
    <p:sldId id="297" r:id="rId7"/>
    <p:sldId id="300" r:id="rId8"/>
    <p:sldId id="301" r:id="rId9"/>
    <p:sldId id="302" r:id="rId10"/>
    <p:sldId id="307" r:id="rId11"/>
  </p:sldIdLst>
  <p:sldSz cx="12192000" cy="6858000"/>
  <p:notesSz cx="6797675" cy="9926638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екрасов Александр Алексеевич" initials="НАА" lastIdx="19" clrIdx="0">
    <p:extLst>
      <p:ext uri="{19B8F6BF-5375-455C-9EA6-DF929625EA0E}">
        <p15:presenceInfo xmlns:p15="http://schemas.microsoft.com/office/powerpoint/2012/main" userId="S-1-5-21-3459247-3763285414-3421907777-37826" providerId="AD"/>
      </p:ext>
    </p:extLst>
  </p:cmAuthor>
  <p:cmAuthor id="2" name="Тушинская Виктория Юрьевна" initials="ТВЮ" lastIdx="1" clrIdx="1">
    <p:extLst>
      <p:ext uri="{19B8F6BF-5375-455C-9EA6-DF929625EA0E}">
        <p15:presenceInfo xmlns:p15="http://schemas.microsoft.com/office/powerpoint/2012/main" userId="Тушинская Виктория Юрь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3131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183" autoAdjust="0"/>
  </p:normalViewPr>
  <p:slideViewPr>
    <p:cSldViewPr snapToGrid="0">
      <p:cViewPr varScale="1">
        <p:scale>
          <a:sx n="81" d="100"/>
          <a:sy n="81" d="100"/>
        </p:scale>
        <p:origin x="96" y="4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________Microsoft_Excel1.xlsb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________Microsoft_Excel3.xlsb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252128841169936E-2"/>
          <c:y val="2.2491349480968859E-2"/>
          <c:w val="0.91595705294335428"/>
          <c:h val="0.95501730103806226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3493323426070687E-4"/>
                  <c:y val="-5.40656077159905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1"/>
              <c:layout>
                <c:manualLayout>
                  <c:x val="-4.902004226838794E-3"/>
                  <c:y val="-5.406533525869826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2"/>
              <c:layout>
                <c:manualLayout>
                  <c:x val="-2.7980411888256138E-3"/>
                  <c:y val="-5.406533525869806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C$1</c:f>
              <c:numCache>
                <c:formatCode>#\ ##0;"-"#\ ##0</c:formatCode>
                <c:ptCount val="3"/>
                <c:pt idx="0">
                  <c:v>7</c:v>
                </c:pt>
                <c:pt idx="1">
                  <c:v>56</c:v>
                </c:pt>
                <c:pt idx="2">
                  <c:v>13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val>
            <c:numRef>
              <c:f>Sheet1!$A$2:$C$2</c:f>
              <c:numCache>
                <c:formatCode>#\ ##0;"-"#\ ##0</c:formatCode>
                <c:ptCount val="3"/>
                <c:pt idx="0">
                  <c:v>7</c:v>
                </c:pt>
                <c:pt idx="1">
                  <c:v>56</c:v>
                </c:pt>
                <c:pt idx="2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3195048"/>
        <c:axId val="193196616"/>
      </c:barChart>
      <c:catAx>
        <c:axId val="193195048"/>
        <c:scaling>
          <c:orientation val="maxMin"/>
        </c:scaling>
        <c:delete val="0"/>
        <c:axPos val="l"/>
        <c:majorGridlines>
          <c:spPr>
            <a:ln w="6350" cap="flat" cmpd="sng" algn="ctr">
              <a:noFill/>
              <a:prstDash val="solid"/>
              <a:round/>
            </a:ln>
            <a:effectLst/>
          </c:spPr>
        </c:majorGridlines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3196616"/>
        <c:crosses val="min"/>
        <c:auto val="0"/>
        <c:lblAlgn val="ctr"/>
        <c:lblOffset val="100"/>
        <c:noMultiLvlLbl val="0"/>
      </c:catAx>
      <c:valAx>
        <c:axId val="193196616"/>
        <c:scaling>
          <c:orientation val="minMax"/>
          <c:max val="56"/>
          <c:min val="0"/>
        </c:scaling>
        <c:delete val="1"/>
        <c:axPos val="t"/>
        <c:numFmt formatCode="#\ ##0;&quot;-&quot;#\ ##0" sourceLinked="1"/>
        <c:majorTickMark val="out"/>
        <c:minorTickMark val="none"/>
        <c:tickLblPos val="nextTo"/>
        <c:crossAx val="193195048"/>
        <c:crosses val="min"/>
        <c:crossBetween val="between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984171848501979"/>
          <c:y val="3.591160220994475E-2"/>
          <c:w val="0.75975127190503111"/>
          <c:h val="0.928176795580110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30C3E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C3CFE1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Lbls>
            <c:dLbl>
              <c:idx val="1"/>
              <c:layout>
                <c:manualLayout>
                  <c:x val="0"/>
                  <c:y val="-2.0718232044198894E-3"/>
                </c:manualLayout>
              </c:layout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#\ ##0.0"%";"-"#\ ##0.0"%"</c:formatCode>
                <c:ptCount val="2"/>
                <c:pt idx="0" formatCode="General">
                  <c:v>12.12</c:v>
                </c:pt>
                <c:pt idx="1">
                  <c:v>87.8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416530985101248E-2"/>
          <c:y val="0.15986740395954616"/>
          <c:w val="0.95929549902152644"/>
          <c:h val="0.765159867695700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12568908489525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470782800441014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393605292171995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#\ ##0;"-"#\ ##0</c:formatCode>
                <c:ptCount val="4"/>
                <c:pt idx="0">
                  <c:v>2</c:v>
                </c:pt>
                <c:pt idx="1">
                  <c:v>10</c:v>
                </c:pt>
                <c:pt idx="2">
                  <c:v>8</c:v>
                </c:pt>
                <c:pt idx="3">
                  <c:v>4</c:v>
                </c:pt>
              </c:numCache>
            </c:numRef>
          </c:val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4.85115766262403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393605292171995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280044101433296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#\ ##0;"-"#\ ##0</c:formatCode>
                <c:ptCount val="4"/>
                <c:pt idx="0">
                  <c:v>1</c:v>
                </c:pt>
                <c:pt idx="1">
                  <c:v>8</c:v>
                </c:pt>
                <c:pt idx="2">
                  <c:v>5</c:v>
                </c:pt>
                <c:pt idx="3">
                  <c:v>4</c:v>
                </c:pt>
              </c:numCache>
            </c:numRef>
          </c:val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0.12568908489525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4.851157662624035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D$3</c:f>
              <c:numCache>
                <c:formatCode>General</c:formatCode>
                <c:ptCount val="4"/>
                <c:pt idx="0" formatCode="#\ ##0;&quot;-&quot;#\ ##0">
                  <c:v>2</c:v>
                </c:pt>
                <c:pt idx="1">
                  <c:v>0</c:v>
                </c:pt>
                <c:pt idx="2" formatCode="#\ ##0;&quot;-&quot;#\ ##0">
                  <c:v>1</c:v>
                </c:pt>
                <c:pt idx="3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3198184"/>
        <c:axId val="193197400"/>
      </c:barChart>
      <c:catAx>
        <c:axId val="193198184"/>
        <c:scaling>
          <c:orientation val="minMax"/>
        </c:scaling>
        <c:delete val="0"/>
        <c:axPos val="b"/>
        <c:majorGridlines>
          <c:spPr>
            <a:ln w="6350" cap="flat" cmpd="sng" algn="ctr">
              <a:noFill/>
              <a:prstDash val="solid"/>
              <a:round/>
            </a:ln>
            <a:effectLst/>
          </c:spPr>
        </c:majorGridlines>
        <c:majorTickMark val="none"/>
        <c:minorTickMark val="none"/>
        <c:tickLblPos val="none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93197400"/>
        <c:crosses val="min"/>
        <c:auto val="0"/>
        <c:lblAlgn val="ctr"/>
        <c:lblOffset val="100"/>
        <c:noMultiLvlLbl val="0"/>
      </c:catAx>
      <c:valAx>
        <c:axId val="193197400"/>
        <c:scaling>
          <c:orientation val="minMax"/>
          <c:max val="10"/>
          <c:min val="0"/>
        </c:scaling>
        <c:delete val="1"/>
        <c:axPos val="l"/>
        <c:numFmt formatCode="#\ ##0;&quot;-&quot;#\ ##0" sourceLinked="1"/>
        <c:majorTickMark val="out"/>
        <c:minorTickMark val="none"/>
        <c:tickLblPos val="nextTo"/>
        <c:crossAx val="193198184"/>
        <c:crosses val="min"/>
        <c:crossBetween val="between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484725050916502E-2"/>
          <c:y val="2.9799426934097421E-2"/>
          <c:w val="0.83553971486761713"/>
          <c:h val="0.94040114613180514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chemeClr val="accent1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FF0000"/>
              </a:solidFill>
              <a:ln w="9525" algn="ctr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5.0916496945009439E-3"/>
                  <c:y val="9.7423025954565309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4CE45E22-2501-4FF9-AEB6-40E31F559B1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1.1201629327902316E-2"/>
                  <c:y val="-2.2922640240532499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4B49320-AD59-4AF6-95F6-52CCADE1C18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7.1283095723014261E-3"/>
                  <c:y val="5.7306600601331244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267CE25-213A-4DD1-920B-CBCF9627186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14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.0&quot;%&quot;;&quot;-&quot;#,##0.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#\ ##0.0"%";"-"#\ ##0.0"%"</c:formatCode>
                <c:ptCount val="3"/>
                <c:pt idx="0">
                  <c:v>18.2</c:v>
                </c:pt>
                <c:pt idx="1">
                  <c:v>55.8</c:v>
                </c:pt>
                <c:pt idx="2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292983039574328E-2"/>
          <c:y val="2.9850746268656716E-2"/>
          <c:w val="0.9245094778849352"/>
          <c:h val="0.940298507462686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364D6E"/>
            </a:solid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48154306617891585"/>
                  <c:y val="1.7221584385763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39208513468573331"/>
                  <c:y val="1.7221584385763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.49185234452943133"/>
                  <c:y val="1.7221584385763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#\ ##0;"-"#\ ##0</c:formatCode>
                <c:ptCount val="4"/>
                <c:pt idx="0">
                  <c:v>86</c:v>
                </c:pt>
                <c:pt idx="1">
                  <c:v>69</c:v>
                </c:pt>
                <c:pt idx="2">
                  <c:v>88</c:v>
                </c:pt>
                <c:pt idx="3">
                  <c:v>77</c:v>
                </c:pt>
              </c:numCache>
            </c:numRef>
          </c:val>
        </c:ser>
        <c:ser>
          <c:idx val="1"/>
          <c:order val="1"/>
          <c:spPr>
            <a:pattFill prst="wdDnDiag">
              <a:fgClr>
                <a:schemeClr val="tx1"/>
              </a:fgClr>
              <a:bgClr>
                <a:schemeClr val="bg1"/>
              </a:bgClr>
            </a:pattFill>
            <a:ln w="9525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4918523445294315E-2"/>
                  <c:y val="1.7221584385763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4.5560359161955437E-2"/>
                  <c:y val="1.7221584385763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3.4918523445294315E-2"/>
                  <c:y val="1.72215843857634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#\ ##0;"-"#\ ##0</c:formatCode>
                <c:ptCount val="4"/>
                <c:pt idx="0">
                  <c:v>4</c:v>
                </c:pt>
                <c:pt idx="1">
                  <c:v>5</c:v>
                </c:pt>
                <c:pt idx="2">
                  <c:v>4</c:v>
                </c:pt>
                <c:pt idx="3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97357584"/>
        <c:axId val="197354840"/>
      </c:barChart>
      <c:catAx>
        <c:axId val="19735758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7354840"/>
        <c:crosses val="min"/>
        <c:auto val="0"/>
        <c:lblAlgn val="ctr"/>
        <c:lblOffset val="100"/>
        <c:noMultiLvlLbl val="0"/>
      </c:catAx>
      <c:valAx>
        <c:axId val="197354840"/>
        <c:scaling>
          <c:orientation val="minMax"/>
          <c:max val="88"/>
          <c:min val="0"/>
        </c:scaling>
        <c:delete val="1"/>
        <c:axPos val="t"/>
        <c:numFmt formatCode="#\ ##0;&quot;-&quot;#\ ##0" sourceLinked="1"/>
        <c:majorTickMark val="out"/>
        <c:minorTickMark val="none"/>
        <c:tickLblPos val="nextTo"/>
        <c:crossAx val="197357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20BC73-9AB8-4B5A-B3CF-82C7A6B58112}" type="datetimeFigureOut">
              <a:rPr lang="ru-RU" smtClean="0"/>
              <a:t>01.0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7365"/>
            <a:ext cx="5438775" cy="390904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63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630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B7F26F-F092-4275-B88C-F46CBA95960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595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B7F26F-F092-4275-B88C-F46CBA95960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0152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B7F26F-F092-4275-B88C-F46CBA95960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3929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B7F26F-F092-4275-B88C-F46CBA959600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5033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B7F26F-F092-4275-B88C-F46CBA95960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65244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B7F26F-F092-4275-B88C-F46CBA95960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3432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776F3E-310F-4C7F-BDD4-303000B6DB1F}" type="datetime1">
              <a:rPr lang="ru-RU" smtClean="0"/>
              <a:t>0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795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045AC4-BE6C-45FC-ABA7-1CA13F617756}" type="datetime1">
              <a:rPr lang="ru-RU" smtClean="0"/>
              <a:t>0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1957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D0EB54-6906-4454-83BA-EAD1D698BB9C}" type="datetime1">
              <a:rPr lang="ru-RU" smtClean="0"/>
              <a:t>0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466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82A4A-7A77-45B5-9DF7-52AA0AA86966}" type="datetime1">
              <a:rPr lang="ru-RU" smtClean="0"/>
              <a:t>0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2981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09514-289F-4CFC-8203-2DEBC5A84D4D}" type="datetime1">
              <a:rPr lang="ru-RU" smtClean="0"/>
              <a:t>0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79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9A2AFA-3DF6-4D8A-99C2-AF14841B5182}" type="datetime1">
              <a:rPr lang="ru-RU" smtClean="0"/>
              <a:t>01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6492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BF57D8-E977-4B56-BE32-1612EE5DC168}" type="datetime1">
              <a:rPr lang="ru-RU" smtClean="0"/>
              <a:t>01.0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992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63C137-44F0-4FFD-9198-71CCE78A1969}" type="datetime1">
              <a:rPr lang="ru-RU" smtClean="0"/>
              <a:t>01.0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7748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0933E-6366-43CC-9698-0DBD16C2DCFC}" type="datetime1">
              <a:rPr lang="ru-RU" smtClean="0"/>
              <a:t>01.0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99597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6A3D57-295F-4F77-AADF-1C6545E128A5}" type="datetime1">
              <a:rPr lang="ru-RU" smtClean="0"/>
              <a:t>01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1629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F167A-22DD-408C-9C8B-37314DC68416}" type="datetime1">
              <a:rPr lang="ru-RU" smtClean="0"/>
              <a:t>01.0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0638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1326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A1991B-B827-4924-8BF9-DFF12BE9B28A}" type="datetime1">
              <a:rPr lang="ru-RU" smtClean="0"/>
              <a:t>01.0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00BF15-B828-476D-A17A-9296DAC8F72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8595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2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image" Target="../media/image4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notesSlide" Target="../notesSlides/notesSlide1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slideLayout" Target="../slideLayouts/slideLayout9.xml"/><Relationship Id="rId30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21" Type="http://schemas.openxmlformats.org/officeDocument/2006/relationships/image" Target="../media/image5.png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image" Target="../media/image8.png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image" Target="../media/image7.png"/><Relationship Id="rId10" Type="http://schemas.openxmlformats.org/officeDocument/2006/relationships/tags" Target="../tags/tag37.xml"/><Relationship Id="rId19" Type="http://schemas.openxmlformats.org/officeDocument/2006/relationships/oleObject" Target="../embeddings/oleObject4.bin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image" Target="../media/image9.png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34" Type="http://schemas.openxmlformats.org/officeDocument/2006/relationships/notesSlide" Target="../notesSlides/notesSlide2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slideLayout" Target="../slideLayouts/slideLayout2.xml"/><Relationship Id="rId38" Type="http://schemas.openxmlformats.org/officeDocument/2006/relationships/chart" Target="../charts/chart3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image" Target="../media/image1.emf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oleObject" Target="../embeddings/oleObject5.bin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9" Type="http://schemas.openxmlformats.org/officeDocument/2006/relationships/oleObject" Target="../embeddings/oleObject6.bin"/><Relationship Id="rId3" Type="http://schemas.openxmlformats.org/officeDocument/2006/relationships/tags" Target="../tags/tag77.xml"/><Relationship Id="rId21" Type="http://schemas.openxmlformats.org/officeDocument/2006/relationships/tags" Target="../tags/tag95.xml"/><Relationship Id="rId34" Type="http://schemas.openxmlformats.org/officeDocument/2006/relationships/tags" Target="../tags/tag108.xml"/><Relationship Id="rId42" Type="http://schemas.openxmlformats.org/officeDocument/2006/relationships/chart" Target="../charts/chart5.xml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tags" Target="../tags/tag107.xml"/><Relationship Id="rId38" Type="http://schemas.openxmlformats.org/officeDocument/2006/relationships/notesSlide" Target="../notesSlides/notesSlide3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tags" Target="../tags/tag103.xml"/><Relationship Id="rId41" Type="http://schemas.openxmlformats.org/officeDocument/2006/relationships/chart" Target="../charts/chart4.xml"/><Relationship Id="rId1" Type="http://schemas.openxmlformats.org/officeDocument/2006/relationships/vmlDrawing" Target="../drawings/vmlDrawing6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tags" Target="../tags/tag106.xml"/><Relationship Id="rId37" Type="http://schemas.openxmlformats.org/officeDocument/2006/relationships/slideLayout" Target="../slideLayouts/slideLayout2.xml"/><Relationship Id="rId40" Type="http://schemas.openxmlformats.org/officeDocument/2006/relationships/image" Target="../media/image1.emf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tags" Target="../tags/tag110.xml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tags" Target="../tags/tag105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tags" Target="../tags/tag104.xml"/><Relationship Id="rId35" Type="http://schemas.openxmlformats.org/officeDocument/2006/relationships/tags" Target="../tags/tag10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12.xml"/><Relationship Id="rId21" Type="http://schemas.openxmlformats.org/officeDocument/2006/relationships/image" Target="../media/image10.png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image" Target="../media/image14.png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image" Target="../media/image13.png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image" Target="../media/image12.png"/><Relationship Id="rId10" Type="http://schemas.openxmlformats.org/officeDocument/2006/relationships/tags" Target="../tags/tag119.xml"/><Relationship Id="rId19" Type="http://schemas.openxmlformats.org/officeDocument/2006/relationships/oleObject" Target="../embeddings/oleObject7.bin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38.xml"/><Relationship Id="rId18" Type="http://schemas.openxmlformats.org/officeDocument/2006/relationships/tags" Target="../tags/tag143.xml"/><Relationship Id="rId26" Type="http://schemas.openxmlformats.org/officeDocument/2006/relationships/tags" Target="../tags/tag151.xml"/><Relationship Id="rId39" Type="http://schemas.openxmlformats.org/officeDocument/2006/relationships/tags" Target="../tags/tag164.xml"/><Relationship Id="rId21" Type="http://schemas.openxmlformats.org/officeDocument/2006/relationships/tags" Target="../tags/tag146.xml"/><Relationship Id="rId34" Type="http://schemas.openxmlformats.org/officeDocument/2006/relationships/tags" Target="../tags/tag159.xml"/><Relationship Id="rId42" Type="http://schemas.openxmlformats.org/officeDocument/2006/relationships/tags" Target="../tags/tag167.xml"/><Relationship Id="rId47" Type="http://schemas.openxmlformats.org/officeDocument/2006/relationships/tags" Target="../tags/tag172.xml"/><Relationship Id="rId50" Type="http://schemas.openxmlformats.org/officeDocument/2006/relationships/tags" Target="../tags/tag175.xml"/><Relationship Id="rId55" Type="http://schemas.openxmlformats.org/officeDocument/2006/relationships/tags" Target="../tags/tag180.xml"/><Relationship Id="rId63" Type="http://schemas.openxmlformats.org/officeDocument/2006/relationships/tags" Target="../tags/tag188.xml"/><Relationship Id="rId68" Type="http://schemas.openxmlformats.org/officeDocument/2006/relationships/tags" Target="../tags/tag193.xml"/><Relationship Id="rId7" Type="http://schemas.openxmlformats.org/officeDocument/2006/relationships/tags" Target="../tags/tag132.xml"/><Relationship Id="rId71" Type="http://schemas.openxmlformats.org/officeDocument/2006/relationships/oleObject" Target="../embeddings/oleObject8.bin"/><Relationship Id="rId2" Type="http://schemas.openxmlformats.org/officeDocument/2006/relationships/tags" Target="../tags/tag127.xml"/><Relationship Id="rId16" Type="http://schemas.openxmlformats.org/officeDocument/2006/relationships/tags" Target="../tags/tag141.xml"/><Relationship Id="rId29" Type="http://schemas.openxmlformats.org/officeDocument/2006/relationships/tags" Target="../tags/tag1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24" Type="http://schemas.openxmlformats.org/officeDocument/2006/relationships/tags" Target="../tags/tag149.xml"/><Relationship Id="rId32" Type="http://schemas.openxmlformats.org/officeDocument/2006/relationships/tags" Target="../tags/tag157.xml"/><Relationship Id="rId37" Type="http://schemas.openxmlformats.org/officeDocument/2006/relationships/tags" Target="../tags/tag162.xml"/><Relationship Id="rId40" Type="http://schemas.openxmlformats.org/officeDocument/2006/relationships/tags" Target="../tags/tag165.xml"/><Relationship Id="rId45" Type="http://schemas.openxmlformats.org/officeDocument/2006/relationships/tags" Target="../tags/tag170.xml"/><Relationship Id="rId53" Type="http://schemas.openxmlformats.org/officeDocument/2006/relationships/tags" Target="../tags/tag178.xml"/><Relationship Id="rId58" Type="http://schemas.openxmlformats.org/officeDocument/2006/relationships/tags" Target="../tags/tag183.xml"/><Relationship Id="rId66" Type="http://schemas.openxmlformats.org/officeDocument/2006/relationships/tags" Target="../tags/tag191.xml"/><Relationship Id="rId5" Type="http://schemas.openxmlformats.org/officeDocument/2006/relationships/tags" Target="../tags/tag130.xml"/><Relationship Id="rId15" Type="http://schemas.openxmlformats.org/officeDocument/2006/relationships/tags" Target="../tags/tag140.xml"/><Relationship Id="rId23" Type="http://schemas.openxmlformats.org/officeDocument/2006/relationships/tags" Target="../tags/tag148.xml"/><Relationship Id="rId28" Type="http://schemas.openxmlformats.org/officeDocument/2006/relationships/tags" Target="../tags/tag153.xml"/><Relationship Id="rId36" Type="http://schemas.openxmlformats.org/officeDocument/2006/relationships/tags" Target="../tags/tag161.xml"/><Relationship Id="rId49" Type="http://schemas.openxmlformats.org/officeDocument/2006/relationships/tags" Target="../tags/tag174.xml"/><Relationship Id="rId57" Type="http://schemas.openxmlformats.org/officeDocument/2006/relationships/tags" Target="../tags/tag182.xml"/><Relationship Id="rId61" Type="http://schemas.openxmlformats.org/officeDocument/2006/relationships/tags" Target="../tags/tag186.xml"/><Relationship Id="rId10" Type="http://schemas.openxmlformats.org/officeDocument/2006/relationships/tags" Target="../tags/tag135.xml"/><Relationship Id="rId19" Type="http://schemas.openxmlformats.org/officeDocument/2006/relationships/tags" Target="../tags/tag144.xml"/><Relationship Id="rId31" Type="http://schemas.openxmlformats.org/officeDocument/2006/relationships/tags" Target="../tags/tag156.xml"/><Relationship Id="rId44" Type="http://schemas.openxmlformats.org/officeDocument/2006/relationships/tags" Target="../tags/tag169.xml"/><Relationship Id="rId52" Type="http://schemas.openxmlformats.org/officeDocument/2006/relationships/tags" Target="../tags/tag177.xml"/><Relationship Id="rId60" Type="http://schemas.openxmlformats.org/officeDocument/2006/relationships/tags" Target="../tags/tag185.xml"/><Relationship Id="rId65" Type="http://schemas.openxmlformats.org/officeDocument/2006/relationships/tags" Target="../tags/tag190.xml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tags" Target="../tags/tag147.xml"/><Relationship Id="rId27" Type="http://schemas.openxmlformats.org/officeDocument/2006/relationships/tags" Target="../tags/tag152.xml"/><Relationship Id="rId30" Type="http://schemas.openxmlformats.org/officeDocument/2006/relationships/tags" Target="../tags/tag155.xml"/><Relationship Id="rId35" Type="http://schemas.openxmlformats.org/officeDocument/2006/relationships/tags" Target="../tags/tag160.xml"/><Relationship Id="rId43" Type="http://schemas.openxmlformats.org/officeDocument/2006/relationships/tags" Target="../tags/tag168.xml"/><Relationship Id="rId48" Type="http://schemas.openxmlformats.org/officeDocument/2006/relationships/tags" Target="../tags/tag173.xml"/><Relationship Id="rId56" Type="http://schemas.openxmlformats.org/officeDocument/2006/relationships/tags" Target="../tags/tag181.xml"/><Relationship Id="rId64" Type="http://schemas.openxmlformats.org/officeDocument/2006/relationships/tags" Target="../tags/tag189.xml"/><Relationship Id="rId69" Type="http://schemas.openxmlformats.org/officeDocument/2006/relationships/slideLayout" Target="../slideLayouts/slideLayout2.xml"/><Relationship Id="rId8" Type="http://schemas.openxmlformats.org/officeDocument/2006/relationships/tags" Target="../tags/tag133.xml"/><Relationship Id="rId51" Type="http://schemas.openxmlformats.org/officeDocument/2006/relationships/tags" Target="../tags/tag176.xml"/><Relationship Id="rId72" Type="http://schemas.openxmlformats.org/officeDocument/2006/relationships/image" Target="../media/image1.emf"/><Relationship Id="rId3" Type="http://schemas.openxmlformats.org/officeDocument/2006/relationships/tags" Target="../tags/tag128.xml"/><Relationship Id="rId12" Type="http://schemas.openxmlformats.org/officeDocument/2006/relationships/tags" Target="../tags/tag137.xml"/><Relationship Id="rId17" Type="http://schemas.openxmlformats.org/officeDocument/2006/relationships/tags" Target="../tags/tag142.xml"/><Relationship Id="rId25" Type="http://schemas.openxmlformats.org/officeDocument/2006/relationships/tags" Target="../tags/tag150.xml"/><Relationship Id="rId33" Type="http://schemas.openxmlformats.org/officeDocument/2006/relationships/tags" Target="../tags/tag158.xml"/><Relationship Id="rId38" Type="http://schemas.openxmlformats.org/officeDocument/2006/relationships/tags" Target="../tags/tag163.xml"/><Relationship Id="rId46" Type="http://schemas.openxmlformats.org/officeDocument/2006/relationships/tags" Target="../tags/tag171.xml"/><Relationship Id="rId59" Type="http://schemas.openxmlformats.org/officeDocument/2006/relationships/tags" Target="../tags/tag184.xml"/><Relationship Id="rId67" Type="http://schemas.openxmlformats.org/officeDocument/2006/relationships/tags" Target="../tags/tag192.xml"/><Relationship Id="rId20" Type="http://schemas.openxmlformats.org/officeDocument/2006/relationships/tags" Target="../tags/tag145.xml"/><Relationship Id="rId41" Type="http://schemas.openxmlformats.org/officeDocument/2006/relationships/tags" Target="../tags/tag166.xml"/><Relationship Id="rId54" Type="http://schemas.openxmlformats.org/officeDocument/2006/relationships/tags" Target="../tags/tag179.xml"/><Relationship Id="rId62" Type="http://schemas.openxmlformats.org/officeDocument/2006/relationships/tags" Target="../tags/tag187.xml"/><Relationship Id="rId70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tags" Target="../tags/tag206.xml"/><Relationship Id="rId18" Type="http://schemas.openxmlformats.org/officeDocument/2006/relationships/image" Target="../media/image15.png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tags" Target="../tags/tag205.xml"/><Relationship Id="rId17" Type="http://schemas.openxmlformats.org/officeDocument/2006/relationships/hyperlink" Target="https://vk.com/economy_so?z=video-204681318_456239033/69a2b551ac6406be90/pl_wall_-204681318" TargetMode="External"/><Relationship Id="rId2" Type="http://schemas.openxmlformats.org/officeDocument/2006/relationships/tags" Target="../tags/tag195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94.x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5" Type="http://schemas.openxmlformats.org/officeDocument/2006/relationships/tags" Target="../tags/tag208.xml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tags" Target="../tags/tag20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10.xml"/><Relationship Id="rId21" Type="http://schemas.openxmlformats.org/officeDocument/2006/relationships/image" Target="../media/image1.emf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5" Type="http://schemas.openxmlformats.org/officeDocument/2006/relationships/image" Target="../media/image19.png"/><Relationship Id="rId2" Type="http://schemas.openxmlformats.org/officeDocument/2006/relationships/tags" Target="../tags/tag209.xml"/><Relationship Id="rId16" Type="http://schemas.openxmlformats.org/officeDocument/2006/relationships/tags" Target="../tags/tag22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24" Type="http://schemas.openxmlformats.org/officeDocument/2006/relationships/image" Target="../media/image18.png"/><Relationship Id="rId5" Type="http://schemas.openxmlformats.org/officeDocument/2006/relationships/tags" Target="../tags/tag212.xml"/><Relationship Id="rId15" Type="http://schemas.openxmlformats.org/officeDocument/2006/relationships/tags" Target="../tags/tag222.xml"/><Relationship Id="rId23" Type="http://schemas.openxmlformats.org/officeDocument/2006/relationships/image" Target="../media/image17.png"/><Relationship Id="rId10" Type="http://schemas.openxmlformats.org/officeDocument/2006/relationships/tags" Target="../tags/tag217.xml"/><Relationship Id="rId19" Type="http://schemas.openxmlformats.org/officeDocument/2006/relationships/notesSlide" Target="../notesSlides/notesSlide5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32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5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506485" y="3141603"/>
            <a:ext cx="11179031" cy="2397288"/>
            <a:chOff x="506485" y="2719517"/>
            <a:chExt cx="11179031" cy="2397288"/>
          </a:xfrm>
        </p:grpSpPr>
        <p:sp>
          <p:nvSpPr>
            <p:cNvPr id="8" name="Заголовок 1"/>
            <p:cNvSpPr txBox="1">
              <a:spLocks/>
            </p:cNvSpPr>
            <p:nvPr/>
          </p:nvSpPr>
          <p:spPr bwMode="auto">
            <a:xfrm>
              <a:off x="540347" y="3006914"/>
              <a:ext cx="11111306" cy="21098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82951" tIns="41475" rIns="82951" bIns="41475" numCol="1" anchor="ctr" anchorCtr="0" compatLnSpc="1">
              <a:prstTxWarp prst="textNoShape">
                <a:avLst/>
              </a:prstTxWarp>
            </a:bodyPr>
            <a:lstStyle>
              <a:lvl1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200" b="1" kern="1200">
                  <a:solidFill>
                    <a:schemeClr val="tx1"/>
                  </a:solidFill>
                  <a:latin typeface="Times New Roman" pitchFamily="18" charset="0"/>
                  <a:ea typeface="+mj-ea"/>
                  <a:cs typeface="Times New Roman" pitchFamily="18" charset="0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5pPr>
              <a:lvl6pPr marL="4572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ru-RU" sz="2540" dirty="0" smtClean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ОТЧЕТ </a:t>
              </a:r>
            </a:p>
            <a:p>
              <a:r>
                <a:rPr lang="ru-RU" sz="2540" dirty="0" smtClean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о </a:t>
              </a:r>
              <a:r>
                <a:rPr lang="ru-RU" sz="2540" dirty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выполнении Плана работы Министерства экономики и территориального развития Свердловской области по противодействию коррупции на 2021–2024 годы </a:t>
              </a:r>
              <a:endParaRPr lang="ru-RU" sz="2540" dirty="0" smtClean="0">
                <a:solidFill>
                  <a:srgbClr val="065466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  <a:p>
              <a:r>
                <a:rPr lang="ru-RU" sz="2540" dirty="0" smtClean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в 2022 </a:t>
              </a:r>
              <a:r>
                <a:rPr lang="ru-RU" sz="2540" dirty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году</a:t>
              </a: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D3D1B304-E70C-4B89-99F7-C36DE3FCC899}"/>
                </a:ext>
              </a:extLst>
            </p:cNvPr>
            <p:cNvSpPr/>
            <p:nvPr/>
          </p:nvSpPr>
          <p:spPr>
            <a:xfrm>
              <a:off x="506485" y="2719517"/>
              <a:ext cx="11179031" cy="71847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65248">
                  <a:schemeClr val="accent1">
                    <a:lumMod val="75000"/>
                  </a:schemeClr>
                </a:gs>
                <a:gs pos="36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33"/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="" xmlns:a16="http://schemas.microsoft.com/office/drawing/2014/main" id="{D40DA34E-F0CA-4887-B5EC-26CCEE508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637" y="2826925"/>
              <a:ext cx="11178727" cy="24362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65248">
                  <a:schemeClr val="accent1">
                    <a:lumMod val="75000"/>
                  </a:schemeClr>
                </a:gs>
                <a:gs pos="36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</p:pic>
      </p:grpSp>
      <p:pic>
        <p:nvPicPr>
          <p:cNvPr id="15362" name="Picture 2" descr="Векторный герб Свердловской области — Abali.ru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1840" y="809570"/>
            <a:ext cx="1228319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677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3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5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506485" y="3141603"/>
            <a:ext cx="11179031" cy="2397288"/>
            <a:chOff x="506485" y="2719517"/>
            <a:chExt cx="11179031" cy="2397288"/>
          </a:xfrm>
        </p:grpSpPr>
        <p:sp>
          <p:nvSpPr>
            <p:cNvPr id="8" name="Заголовок 1"/>
            <p:cNvSpPr txBox="1">
              <a:spLocks/>
            </p:cNvSpPr>
            <p:nvPr/>
          </p:nvSpPr>
          <p:spPr bwMode="auto">
            <a:xfrm>
              <a:off x="540346" y="3006914"/>
              <a:ext cx="11111306" cy="21098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82951" tIns="41475" rIns="82951" bIns="41475" numCol="1" anchor="ctr" anchorCtr="0" compatLnSpc="1">
              <a:prstTxWarp prst="textNoShape">
                <a:avLst/>
              </a:prstTxWarp>
            </a:bodyPr>
            <a:lstStyle>
              <a:lvl1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2200" b="1" kern="1200">
                  <a:solidFill>
                    <a:schemeClr val="tx1"/>
                  </a:solidFill>
                  <a:latin typeface="Times New Roman" pitchFamily="18" charset="0"/>
                  <a:ea typeface="+mj-ea"/>
                  <a:cs typeface="Times New Roman" pitchFamily="18" charset="0"/>
                </a:defRPr>
              </a:lvl1pPr>
              <a:lvl2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2pPr>
              <a:lvl3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3pPr>
              <a:lvl4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4pPr>
              <a:lvl5pPr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5pPr>
              <a:lvl6pPr marL="4572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eaLnBrk="1" fontAlgn="base" hangingPunct="1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ru-RU" sz="2540" dirty="0" smtClean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ОТЧЕТ </a:t>
              </a:r>
            </a:p>
            <a:p>
              <a:r>
                <a:rPr lang="ru-RU" sz="2540" dirty="0" smtClean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о </a:t>
              </a:r>
              <a:r>
                <a:rPr lang="ru-RU" sz="2540" dirty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выполнении Плана работы Министерства экономики и территориального развития Свердловской области по противодействию коррупции на 2021–2024 годы </a:t>
              </a:r>
              <a:endParaRPr lang="ru-RU" sz="2540" dirty="0" smtClean="0">
                <a:solidFill>
                  <a:srgbClr val="065466"/>
                </a:solidFill>
                <a:latin typeface="Arial" panose="020B0604020202020204" pitchFamily="34" charset="0"/>
                <a:ea typeface="Microsoft YaHei" panose="020B0503020204020204" pitchFamily="34" charset="-122"/>
                <a:cs typeface="Arial" panose="020B0604020202020204" pitchFamily="34" charset="0"/>
              </a:endParaRPr>
            </a:p>
            <a:p>
              <a:r>
                <a:rPr lang="ru-RU" sz="2540" dirty="0" smtClean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в 2022 </a:t>
              </a:r>
              <a:r>
                <a:rPr lang="ru-RU" sz="2540" dirty="0">
                  <a:solidFill>
                    <a:srgbClr val="065466"/>
                  </a:solidFill>
                  <a:latin typeface="Arial" panose="020B0604020202020204" pitchFamily="34" charset="0"/>
                  <a:ea typeface="Microsoft YaHei" panose="020B0503020204020204" pitchFamily="34" charset="-122"/>
                  <a:cs typeface="Arial" panose="020B0604020202020204" pitchFamily="34" charset="0"/>
                </a:rPr>
                <a:t>году</a:t>
              </a: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D3D1B304-E70C-4B89-99F7-C36DE3FCC899}"/>
                </a:ext>
              </a:extLst>
            </p:cNvPr>
            <p:cNvSpPr/>
            <p:nvPr/>
          </p:nvSpPr>
          <p:spPr>
            <a:xfrm>
              <a:off x="506485" y="2719517"/>
              <a:ext cx="11179031" cy="71847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65248">
                  <a:schemeClr val="accent1">
                    <a:lumMod val="75000"/>
                  </a:schemeClr>
                </a:gs>
                <a:gs pos="36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33"/>
            </a:p>
          </p:txBody>
        </p:sp>
        <p:pic>
          <p:nvPicPr>
            <p:cNvPr id="15" name="Рисунок 14">
              <a:extLst>
                <a:ext uri="{FF2B5EF4-FFF2-40B4-BE49-F238E27FC236}">
                  <a16:creationId xmlns="" xmlns:a16="http://schemas.microsoft.com/office/drawing/2014/main" id="{D40DA34E-F0CA-4887-B5EC-26CCEE5083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637" y="2826925"/>
              <a:ext cx="11178727" cy="24362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65248">
                  <a:schemeClr val="accent1">
                    <a:lumMod val="75000"/>
                  </a:schemeClr>
                </a:gs>
                <a:gs pos="36000">
                  <a:schemeClr val="accent1">
                    <a:lumMod val="40000"/>
                    <a:lumOff val="60000"/>
                  </a:schemeClr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</p:pic>
      </p:grpSp>
      <p:pic>
        <p:nvPicPr>
          <p:cNvPr id="15362" name="Picture 2" descr="Векторный герб Свердловской области — Abali.ru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1840" y="809570"/>
            <a:ext cx="1228319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3816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46482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Слайд think-cell" r:id="rId29" imgW="347" imgH="348" progId="TCLayout.ActiveDocument.1">
                  <p:embed/>
                </p:oleObj>
              </mc:Choice>
              <mc:Fallback>
                <p:oleObj name="Слайд think-cell" r:id="rId2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E9B7-81DB-421D-8B10-379E1C538B62}" type="slidenum">
              <a:rPr lang="ru-RU" smtClean="0"/>
              <a:t>2</a:t>
            </a:fld>
            <a:endParaRPr lang="ru-RU" dirty="0"/>
          </a:p>
        </p:txBody>
      </p:sp>
      <p:sp>
        <p:nvSpPr>
          <p:cNvPr id="22" name="Title 1"/>
          <p:cNvSpPr txBox="1">
            <a:spLocks/>
          </p:cNvSpPr>
          <p:nvPr/>
        </p:nvSpPr>
        <p:spPr bwMode="auto">
          <a:xfrm>
            <a:off x="314395" y="760273"/>
            <a:ext cx="10518289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kern="0" dirty="0" smtClean="0">
                <a:solidFill>
                  <a:srgbClr val="002960"/>
                </a:solidFill>
                <a:latin typeface="Arial"/>
              </a:rPr>
              <a:t>В 2022 году осуществлено выполнение Плана работы Министерства по противодействию коррупции </a:t>
            </a:r>
            <a:endParaRPr lang="en-US" sz="1600" kern="0" dirty="0" smtClean="0">
              <a:solidFill>
                <a:srgbClr val="002960"/>
              </a:solidFill>
              <a:latin typeface="Arial"/>
            </a:endParaRPr>
          </a:p>
          <a:p>
            <a:r>
              <a:rPr lang="ru-RU" sz="1600" kern="0" dirty="0" smtClean="0">
                <a:solidFill>
                  <a:srgbClr val="002960"/>
                </a:solidFill>
                <a:latin typeface="Arial"/>
              </a:rPr>
              <a:t>на </a:t>
            </a:r>
            <a:r>
              <a:rPr lang="ru-RU" sz="1600" kern="0" dirty="0">
                <a:solidFill>
                  <a:srgbClr val="002960"/>
                </a:solidFill>
                <a:latin typeface="Arial"/>
              </a:rPr>
              <a:t>2021–2024 </a:t>
            </a:r>
            <a:r>
              <a:rPr lang="ru-RU" sz="1600" kern="0" dirty="0" smtClean="0">
                <a:solidFill>
                  <a:srgbClr val="002960"/>
                </a:solidFill>
                <a:latin typeface="Arial"/>
              </a:rPr>
              <a:t>годы, утвержденного приказом </a:t>
            </a:r>
            <a:r>
              <a:rPr lang="ru-RU" sz="1600" kern="0" dirty="0">
                <a:solidFill>
                  <a:srgbClr val="002960"/>
                </a:solidFill>
                <a:latin typeface="Arial"/>
              </a:rPr>
              <a:t>Министерства от 19.04.2021 № 39</a:t>
            </a:r>
            <a:endParaRPr lang="en-US" sz="1600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38466" y="1567060"/>
            <a:ext cx="1067286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defTabSz="895350" fontAlgn="base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400" kern="0">
                <a:solidFill>
                  <a:srgbClr val="002960"/>
                </a:solidFill>
                <a:latin typeface="Arial"/>
                <a:ea typeface="+mj-ea"/>
                <a:cs typeface="+mj-cs"/>
              </a:defRPr>
            </a:lvl1pPr>
          </a:lstStyle>
          <a:p>
            <a:pPr algn="ctr"/>
            <a:r>
              <a:rPr lang="ru-RU" sz="1500" dirty="0"/>
              <a:t>П</a:t>
            </a:r>
            <a:r>
              <a:rPr lang="ru-RU" sz="1500" dirty="0" smtClean="0"/>
              <a:t>лан </a:t>
            </a:r>
            <a:r>
              <a:rPr lang="ru-RU" sz="1500" dirty="0"/>
              <a:t>Министерства по противодействию коррупции полностью соответствует </a:t>
            </a:r>
            <a:r>
              <a:rPr lang="ru-RU" sz="1500" dirty="0" smtClean="0"/>
              <a:t>принятым </a:t>
            </a:r>
            <a:r>
              <a:rPr lang="ru-RU" sz="1500" dirty="0"/>
              <a:t>региональному и национальному планам до 2024 </a:t>
            </a:r>
            <a:r>
              <a:rPr lang="ru-RU" sz="1500" dirty="0" smtClean="0"/>
              <a:t>года: в 2021–2022 годах все мероприятия выполнены в установленные сроки</a:t>
            </a:r>
            <a:endParaRPr lang="ru-RU" sz="1500" dirty="0"/>
          </a:p>
        </p:txBody>
      </p:sp>
      <p:graphicFrame>
        <p:nvGraphicFramePr>
          <p:cNvPr id="23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62705145"/>
              </p:ext>
            </p:extLst>
          </p:nvPr>
        </p:nvGraphicFramePr>
        <p:xfrm>
          <a:off x="7073261" y="2396021"/>
          <a:ext cx="4387355" cy="3670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49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79838" y="4006655"/>
            <a:ext cx="10906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761722-D9F3-408C-9A32-BDE33740FB18}" type="datetime'''К''о''личе''''''''с''''''''тво &#10;м''е''р''оп''''р''ияти''''й'">
              <a:rPr lang="ru-RU" altLang="en-US" sz="140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Количество 
мероприятий</a:t>
            </a:fld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7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188104" y="2853563"/>
            <a:ext cx="1778000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0F318B5-ADCD-4351-87DE-C40EA99265E9}" type="datetime'Колич''''е''''ство&#10;''''ц''елевых'' показ''а''т''е''л''''ей'">
              <a:rPr lang="ru-RU" altLang="en-US" sz="140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Количество
целевых показателей</a:t>
            </a:fld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8" name="Текст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03866" y="5096432"/>
            <a:ext cx="2662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B2E4E3-D88F-47F9-B8BA-4F6F56995453}" type="thinkcell&lt;?xml version=&quot;1.0&quot; encoding=&quot;UTF-16&quot; standalone=&quot;yes&quot;?&gt;&lt;root reqver=&quot;27037&quot;&gt;&lt;version val=&quot;32730&quot;/&gt;&lt;PersistentType&gt;&lt;m_guid val=&quot;2f01aae3-4440-44a4-8f69-53e478fd2b9c&quot;/&gt;&lt;m_prec&gt;&lt;m_yearfmt&gt;&lt;begin val=&quot;0&quot;/&gt;&lt;end val=&quot;4&quot;/&gt;&lt;/m_yearfmt&gt;&lt;/m_prec&gt;&lt;/PersistentType&gt;&lt;/root&gt;">
              <a:rPr lang="ru-RU" altLang="en-US" sz="140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Количество 
направлений деятельности 
по противодействию коррупции </a:t>
            </a:fld>
            <a:endParaRPr lang="ru-RU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7"/>
            </p:custDataLst>
          </p:nvPr>
        </p:nvSpPr>
        <p:spPr bwMode="auto">
          <a:xfrm>
            <a:off x="8856540" y="6208042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Прямоугольник 111"/>
          <p:cNvSpPr/>
          <p:nvPr>
            <p:custDataLst>
              <p:tags r:id="rId8"/>
            </p:custDataLst>
          </p:nvPr>
        </p:nvSpPr>
        <p:spPr bwMode="auto">
          <a:xfrm>
            <a:off x="6858948" y="6208042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178035" y="6215733"/>
            <a:ext cx="12684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Запланировано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3" name="Текст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162173" y="6208042"/>
            <a:ext cx="1333500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Выполнено (достигнуто)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07" name="Группа 206"/>
          <p:cNvGrpSpPr/>
          <p:nvPr/>
        </p:nvGrpSpPr>
        <p:grpSpPr>
          <a:xfrm>
            <a:off x="23069" y="-19727"/>
            <a:ext cx="12192001" cy="724577"/>
            <a:chOff x="23069" y="-677"/>
            <a:chExt cx="12192001" cy="724577"/>
          </a:xfrm>
        </p:grpSpPr>
        <p:sp>
          <p:nvSpPr>
            <p:cNvPr id="208" name="Freeform 10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738762" y="5844"/>
              <a:ext cx="1735908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209" name="Freeform 10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6253770" y="584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210" name="Rectangle 1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390754" y="36106"/>
              <a:ext cx="1043946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я о коррупционных нарушениях</a:t>
              </a:r>
            </a:p>
          </p:txBody>
        </p:sp>
        <p:sp>
          <p:nvSpPr>
            <p:cNvPr id="211" name="Freeform 10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383570" y="5844"/>
              <a:ext cx="1468111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212" name="Freeform 10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948470" y="584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/>
            </a:p>
          </p:txBody>
        </p:sp>
        <p:sp>
          <p:nvSpPr>
            <p:cNvPr id="213" name="Rectangle 1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01030" y="36106"/>
              <a:ext cx="1223532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расходах об имуществе…</a:t>
              </a:r>
            </a:p>
          </p:txBody>
        </p:sp>
        <p:sp>
          <p:nvSpPr>
            <p:cNvPr id="214" name="Freeform 10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9123970" y="584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215" name="Freeform 1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688870" y="584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216" name="Freeform 10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3069" y="0"/>
              <a:ext cx="2275631" cy="7239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217" name="Rectangle 11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7876500" y="36106"/>
              <a:ext cx="1106245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 результатах просветительских мероприятий</a:t>
              </a:r>
            </a:p>
          </p:txBody>
        </p:sp>
        <p:sp>
          <p:nvSpPr>
            <p:cNvPr id="218" name="Freeform 10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559070" y="584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219" name="Rectangle 11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0672732" y="36106"/>
              <a:ext cx="1321438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0" name="Rectangle 11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48469" y="-677"/>
              <a:ext cx="2097831" cy="705969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marL="72000" defTabSz="809934">
                <a:buClr>
                  <a:schemeClr val="tx2"/>
                </a:buClr>
              </a:pPr>
              <a:r>
                <a:rPr lang="en-US" sz="11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1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ыполнение плана работы по противодействию коррупции</a:t>
              </a:r>
              <a:endParaRPr lang="ru-RU" sz="11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1" name="Rectangle 1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629947" y="36106"/>
              <a:ext cx="1155454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  <p:sp>
          <p:nvSpPr>
            <p:cNvPr id="222" name="Rectangle 1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4926651" y="36106"/>
              <a:ext cx="1293849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Результативность антикоррупционной экспертизы</a:t>
              </a:r>
            </a:p>
          </p:txBody>
        </p:sp>
      </p:grpSp>
      <p:pic>
        <p:nvPicPr>
          <p:cNvPr id="226" name="Рисунок 225"/>
          <p:cNvPicPr>
            <a:picLocks noChangeAspect="1"/>
          </p:cNvPicPr>
          <p:nvPr/>
        </p:nvPicPr>
        <p:blipFill rotWithShape="1">
          <a:blip r:embed="rId32"/>
          <a:srcRect l="8641" t="3914" r="8027" b="2255"/>
          <a:stretch/>
        </p:blipFill>
        <p:spPr>
          <a:xfrm>
            <a:off x="909283" y="2355851"/>
            <a:ext cx="2778834" cy="395763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44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478675" y="42441"/>
            <a:ext cx="1016998" cy="481744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447" tIns="0" rIns="3447" bIns="0" anchor="ctr">
            <a:noAutofit/>
          </a:bodyPr>
          <a:lstStyle/>
          <a:p>
            <a:pPr defTabSz="809934">
              <a:buClr>
                <a:schemeClr val="tx2"/>
              </a:buClr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VII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О ведении страницы Министерства </a:t>
            </a:r>
          </a:p>
          <a:p>
            <a:pPr defTabSz="809934">
              <a:buClr>
                <a:schemeClr val="tx2"/>
              </a:buClr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в социальн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е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837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3825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3" name="Слайд think-cell" r:id="rId19" imgW="347" imgH="348" progId="TCLayout.ActiveDocument.1">
                  <p:embed/>
                </p:oleObj>
              </mc:Choice>
              <mc:Fallback>
                <p:oleObj name="Слайд think-cell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174674" y="4193619"/>
            <a:ext cx="5060372" cy="170619"/>
          </a:xfrm>
          <a:prstGeom prst="rect">
            <a:avLst/>
          </a:prstGeom>
          <a:pattFill prst="wdUp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209549" y="760273"/>
            <a:ext cx="11967974" cy="712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544" kern="0" dirty="0" smtClean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2 году организован прием </a:t>
            </a:r>
            <a:r>
              <a:rPr lang="ru-RU" sz="1544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едений о доходах, расходах, </a:t>
            </a:r>
            <a:r>
              <a:rPr lang="ru-RU" sz="1544" kern="0" dirty="0" smtClean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имуществе </a:t>
            </a:r>
            <a:r>
              <a:rPr lang="ru-RU" sz="1544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бязательствах имущественного характера лиц, замещающих должности, осуществление полномочий по которым влечет за собой обязанность представить такие сведения</a:t>
            </a:r>
            <a:endParaRPr lang="en-US" sz="1544" kern="0" dirty="0">
              <a:solidFill>
                <a:srgbClr val="0029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>
                <a:cs typeface="Arial" panose="020B0604020202020204" pitchFamily="34" charset="0"/>
              </a:rPr>
              <a:t>3</a:t>
            </a:fld>
            <a:endParaRPr lang="ru-RU" dirty="0"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0727B4E4-D607-40C2-9E46-1260EF629DF2}"/>
              </a:ext>
            </a:extLst>
          </p:cNvPr>
          <p:cNvCxnSpPr>
            <a:cxnSpLocks/>
          </p:cNvCxnSpPr>
          <p:nvPr/>
        </p:nvCxnSpPr>
        <p:spPr>
          <a:xfrm>
            <a:off x="426027" y="4276704"/>
            <a:ext cx="11294918" cy="0"/>
          </a:xfrm>
          <a:prstGeom prst="line">
            <a:avLst/>
          </a:prstGeom>
          <a:ln w="127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5057F679-FBEE-4965-ACBE-CE6E06598712}"/>
              </a:ext>
            </a:extLst>
          </p:cNvPr>
          <p:cNvSpPr/>
          <p:nvPr/>
        </p:nvSpPr>
        <p:spPr>
          <a:xfrm>
            <a:off x="650778" y="4633764"/>
            <a:ext cx="24807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Проведение методического семинара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98EB543B-6808-4C0A-8C77-0F604A37EFA1}"/>
              </a:ext>
            </a:extLst>
          </p:cNvPr>
          <p:cNvSpPr/>
          <p:nvPr/>
        </p:nvSpPr>
        <p:spPr>
          <a:xfrm>
            <a:off x="3422180" y="4510653"/>
            <a:ext cx="279158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Уведомление об основных изменениях в порядке заполнения справок </a:t>
            </a:r>
          </a:p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о доходах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Liberation Serif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5" name="Овал 24">
            <a:extLst>
              <a:ext uri="{FF2B5EF4-FFF2-40B4-BE49-F238E27FC236}">
                <a16:creationId xmlns="" xmlns:a16="http://schemas.microsoft.com/office/drawing/2014/main" id="{C108D8BA-9D17-45F5-8B0A-C4333251935F}"/>
              </a:ext>
            </a:extLst>
          </p:cNvPr>
          <p:cNvSpPr/>
          <p:nvPr/>
        </p:nvSpPr>
        <p:spPr>
          <a:xfrm>
            <a:off x="4626793" y="4193619"/>
            <a:ext cx="191180" cy="1869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5057F679-FBEE-4965-ACBE-CE6E06598712}"/>
              </a:ext>
            </a:extLst>
          </p:cNvPr>
          <p:cNvSpPr/>
          <p:nvPr/>
        </p:nvSpPr>
        <p:spPr>
          <a:xfrm>
            <a:off x="6504432" y="4541431"/>
            <a:ext cx="2237433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Индивидуальные консультации</a:t>
            </a:r>
          </a:p>
          <a:p>
            <a:pPr algn="ctr"/>
            <a:r>
              <a:rPr lang="ru-RU" sz="1200" i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(по мере необходимости)</a:t>
            </a:r>
            <a:endParaRPr lang="ru-RU" sz="1200" i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Liberation Serif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0" name="Овал 39">
            <a:extLst>
              <a:ext uri="{FF2B5EF4-FFF2-40B4-BE49-F238E27FC236}">
                <a16:creationId xmlns="" xmlns:a16="http://schemas.microsoft.com/office/drawing/2014/main" id="{C108D8BA-9D17-45F5-8B0A-C4333251935F}"/>
              </a:ext>
            </a:extLst>
          </p:cNvPr>
          <p:cNvSpPr/>
          <p:nvPr/>
        </p:nvSpPr>
        <p:spPr>
          <a:xfrm>
            <a:off x="7487325" y="4193619"/>
            <a:ext cx="191180" cy="1869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Овал 40">
            <a:extLst>
              <a:ext uri="{FF2B5EF4-FFF2-40B4-BE49-F238E27FC236}">
                <a16:creationId xmlns="" xmlns:a16="http://schemas.microsoft.com/office/drawing/2014/main" id="{C108D8BA-9D17-45F5-8B0A-C4333251935F}"/>
              </a:ext>
            </a:extLst>
          </p:cNvPr>
          <p:cNvSpPr/>
          <p:nvPr/>
        </p:nvSpPr>
        <p:spPr>
          <a:xfrm>
            <a:off x="1766261" y="4178224"/>
            <a:ext cx="191180" cy="1869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Овал 41">
            <a:extLst>
              <a:ext uri="{FF2B5EF4-FFF2-40B4-BE49-F238E27FC236}">
                <a16:creationId xmlns="" xmlns:a16="http://schemas.microsoft.com/office/drawing/2014/main" id="{C108D8BA-9D17-45F5-8B0A-C4333251935F}"/>
              </a:ext>
            </a:extLst>
          </p:cNvPr>
          <p:cNvSpPr/>
          <p:nvPr/>
        </p:nvSpPr>
        <p:spPr>
          <a:xfrm>
            <a:off x="10347858" y="4193619"/>
            <a:ext cx="191180" cy="186955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5057F679-FBEE-4965-ACBE-CE6E06598712}"/>
              </a:ext>
            </a:extLst>
          </p:cNvPr>
          <p:cNvSpPr/>
          <p:nvPr/>
        </p:nvSpPr>
        <p:spPr>
          <a:xfrm>
            <a:off x="9205643" y="4609318"/>
            <a:ext cx="24756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Прием справок </a:t>
            </a:r>
          </a:p>
          <a:p>
            <a:pPr algn="ctr"/>
            <a:r>
              <a: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о доходах</a:t>
            </a:r>
          </a:p>
          <a:p>
            <a:pPr algn="ctr"/>
            <a:endParaRPr lang="ru-RU" sz="800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Liberation Serif" panose="02020603050405020304" pitchFamily="18" charset="0"/>
              <a:cs typeface="Arial" panose="020B0604020202020204" pitchFamily="34" charset="0"/>
            </a:endParaRPr>
          </a:p>
          <a:p>
            <a:pPr algn="ctr"/>
            <a:r>
              <a:rPr lang="ru-RU" sz="1600" i="1" dirty="0" smtClean="0">
                <a:solidFill>
                  <a:srgbClr val="FF0000"/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(приняты справки </a:t>
            </a:r>
          </a:p>
          <a:p>
            <a:pPr algn="ctr"/>
            <a:r>
              <a:rPr lang="ru-RU" sz="1600" i="1" dirty="0" smtClean="0">
                <a:solidFill>
                  <a:srgbClr val="FF0000"/>
                </a:solidFill>
                <a:latin typeface="Arial" panose="020B0604020202020204" pitchFamily="34" charset="0"/>
                <a:ea typeface="Liberation Serif" panose="02020603050405020304" pitchFamily="18" charset="0"/>
                <a:cs typeface="Arial" panose="020B0604020202020204" pitchFamily="34" charset="0"/>
              </a:rPr>
              <a:t>от 33 служащих)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874734" y="3781851"/>
            <a:ext cx="20306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8 февраля 2022 года</a:t>
            </a:r>
            <a:endParaRPr lang="ru-RU" sz="1100" dirty="0" smtClean="0"/>
          </a:p>
        </p:txBody>
      </p:sp>
      <p:sp>
        <p:nvSpPr>
          <p:cNvPr id="45" name="TextBox 44"/>
          <p:cNvSpPr txBox="1"/>
          <p:nvPr/>
        </p:nvSpPr>
        <p:spPr>
          <a:xfrm>
            <a:off x="3826219" y="3791735"/>
            <a:ext cx="17760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февраль 2022 года</a:t>
            </a:r>
            <a:endParaRPr lang="ru-RU" sz="1100" dirty="0" smtClean="0"/>
          </a:p>
        </p:txBody>
      </p:sp>
      <p:sp>
        <p:nvSpPr>
          <p:cNvPr id="46" name="TextBox 45"/>
          <p:cNvSpPr txBox="1"/>
          <p:nvPr/>
        </p:nvSpPr>
        <p:spPr>
          <a:xfrm>
            <a:off x="9489428" y="3791735"/>
            <a:ext cx="19080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о 31 мая 2022 года</a:t>
            </a:r>
            <a:endParaRPr lang="ru-RU" sz="1100" dirty="0" smtClean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354943" y="2430564"/>
            <a:ext cx="1070264" cy="107026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7085214" y="2430564"/>
            <a:ext cx="1069200" cy="10692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908846" y="2430564"/>
            <a:ext cx="1069200" cy="106920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4179639" y="2430564"/>
            <a:ext cx="1069200" cy="1069200"/>
          </a:xfrm>
          <a:prstGeom prst="rect">
            <a:avLst/>
          </a:prstGeom>
        </p:spPr>
      </p:pic>
      <p:grpSp>
        <p:nvGrpSpPr>
          <p:cNvPr id="62" name="Группа 61"/>
          <p:cNvGrpSpPr/>
          <p:nvPr/>
        </p:nvGrpSpPr>
        <p:grpSpPr>
          <a:xfrm>
            <a:off x="-1" y="-19050"/>
            <a:ext cx="12192001" cy="730154"/>
            <a:chOff x="-1" y="948915"/>
            <a:chExt cx="12192001" cy="730154"/>
          </a:xfrm>
        </p:grpSpPr>
        <p:sp>
          <p:nvSpPr>
            <p:cNvPr id="63" name="Freeform 10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795600" y="954759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4" name="Freeform 10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230700" y="954759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5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936030" y="954759"/>
              <a:ext cx="1980421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6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9100900" y="954759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7" name="Freeform 1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7665800" y="954759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8" name="Freeform 10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-1" y="948915"/>
              <a:ext cx="1589831" cy="617167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9" name="Freeform 1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0536000" y="954759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70" name="Freeform 10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437430" y="954759"/>
              <a:ext cx="2080546" cy="72431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/>
            </a:p>
          </p:txBody>
        </p:sp>
        <p:sp>
          <p:nvSpPr>
            <p:cNvPr id="71" name="Rectangle 1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390754" y="996214"/>
              <a:ext cx="1043946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я о коррупционных нарушениях</a:t>
              </a:r>
            </a:p>
          </p:txBody>
        </p:sp>
        <p:sp>
          <p:nvSpPr>
            <p:cNvPr id="72" name="Rectangle 1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7876500" y="996214"/>
              <a:ext cx="1106245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 результатах просветительских мероприятий</a:t>
              </a:r>
            </a:p>
          </p:txBody>
        </p:sp>
        <p:sp>
          <p:nvSpPr>
            <p:cNvPr id="73" name="Rectangle 1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672732" y="996214"/>
              <a:ext cx="1321438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Rectangle 1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3629947" y="996214"/>
              <a:ext cx="1155454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  <p:sp>
          <p:nvSpPr>
            <p:cNvPr id="75" name="Rectangle 1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4926651" y="996214"/>
              <a:ext cx="1293849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Результативность антикоррупционной экспертизы</a:t>
              </a: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77334" y="990372"/>
              <a:ext cx="1360096" cy="515375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н </a:t>
              </a:r>
              <a:r>
                <a:rPr lang="ru-RU" sz="1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 по противодействию коррупции</a:t>
              </a:r>
            </a:p>
          </p:txBody>
        </p:sp>
        <p:sp>
          <p:nvSpPr>
            <p:cNvPr id="78" name="Rectangle 1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667165" y="1000887"/>
              <a:ext cx="1600932" cy="540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</a:t>
              </a:r>
              <a:r>
                <a:rPr lang="ru-RU" sz="11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асходах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,</a:t>
              </a:r>
              <a:r>
                <a:rPr lang="ru-RU" sz="11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об имуществе…</a:t>
              </a:r>
            </a:p>
          </p:txBody>
        </p:sp>
      </p:grpSp>
      <p:sp>
        <p:nvSpPr>
          <p:cNvPr id="47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439955" y="57377"/>
            <a:ext cx="1016998" cy="481744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447" tIns="0" rIns="3447" bIns="0" anchor="ctr">
            <a:noAutofit/>
          </a:bodyPr>
          <a:lstStyle/>
          <a:p>
            <a:pPr defTabSz="809934">
              <a:buClr>
                <a:schemeClr val="tx2"/>
              </a:buClr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VII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О ведении страницы Министерства </a:t>
            </a:r>
          </a:p>
          <a:p>
            <a:pPr defTabSz="809934">
              <a:buClr>
                <a:schemeClr val="tx2"/>
              </a:buClr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в социальн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е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469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Chart 3"/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2675933"/>
              </p:ext>
            </p:extLst>
          </p:nvPr>
        </p:nvGraphicFramePr>
        <p:xfrm>
          <a:off x="1700211" y="4456893"/>
          <a:ext cx="2716049" cy="2223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799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Слайд think-cell" r:id="rId36" imgW="347" imgH="348" progId="TCLayout.ActiveDocument.1">
                  <p:embed/>
                </p:oleObj>
              </mc:Choice>
              <mc:Fallback>
                <p:oleObj name="Слайд think-cell" r:id="rId36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E9B7-81DB-421D-8B10-379E1C538B62}" type="slidenum">
              <a:rPr lang="ru-RU" smtClean="0"/>
              <a:t>4</a:t>
            </a:fld>
            <a:endParaRPr lang="ru-RU" dirty="0"/>
          </a:p>
        </p:txBody>
      </p:sp>
      <p:sp>
        <p:nvSpPr>
          <p:cNvPr id="22" name="Title 1"/>
          <p:cNvSpPr txBox="1">
            <a:spLocks/>
          </p:cNvSpPr>
          <p:nvPr/>
        </p:nvSpPr>
        <p:spPr bwMode="auto">
          <a:xfrm>
            <a:off x="209549" y="815981"/>
            <a:ext cx="11967974" cy="47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544" kern="0" dirty="0">
                <a:solidFill>
                  <a:srgbClr val="002960"/>
                </a:solidFill>
                <a:latin typeface="Arial"/>
              </a:rPr>
              <a:t>Обеспечение </a:t>
            </a:r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функционирования </a:t>
            </a:r>
            <a:r>
              <a:rPr lang="ru-RU" sz="1544" kern="0" dirty="0">
                <a:solidFill>
                  <a:srgbClr val="002960"/>
                </a:solidFill>
                <a:latin typeface="Arial"/>
              </a:rPr>
              <a:t>комиссии по соблюдению требований к служебному поведению государственных гражданских служащих Свердловской области и урегулированию конфликта интересов в </a:t>
            </a:r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Министерстве в 2022 году</a:t>
            </a:r>
            <a:endParaRPr lang="en-US" sz="1544" kern="0" dirty="0">
              <a:solidFill>
                <a:srgbClr val="002960"/>
              </a:solidFill>
              <a:latin typeface="Arial"/>
            </a:endParaRPr>
          </a:p>
        </p:txBody>
      </p:sp>
      <p:graphicFrame>
        <p:nvGraphicFramePr>
          <p:cNvPr id="16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40630949"/>
              </p:ext>
            </p:extLst>
          </p:nvPr>
        </p:nvGraphicFramePr>
        <p:xfrm>
          <a:off x="735162" y="2132678"/>
          <a:ext cx="4144508" cy="1439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71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089153" y="3548867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9BD029-8663-4D42-96FE-353A3B3F9AC1}" type="datetime'''''''''''''''2''02''''''''1'''''''''''''''''''''''">
              <a:rPr lang="ru-RU" altLang="en-US" sz="1400" smtClean="0"/>
              <a:pPr/>
              <a:t>2021</a:t>
            </a:fld>
            <a:endParaRPr lang="ru-RU" sz="1400" dirty="0"/>
          </a:p>
        </p:txBody>
      </p:sp>
      <p:sp>
        <p:nvSpPr>
          <p:cNvPr id="69" name="Текст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58503" y="3556603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2BB963-FA69-45FC-A040-9DC6309BDBC6}" type="datetime'''''''''''''2''''''''01''''9'''''''''''''''''''''''">
              <a:rPr lang="ru-RU" altLang="en-US" sz="1400" smtClean="0"/>
              <a:pPr/>
              <a:t>2019</a:t>
            </a:fld>
            <a:endParaRPr lang="ru-RU" sz="1400" dirty="0"/>
          </a:p>
        </p:txBody>
      </p:sp>
      <p:sp>
        <p:nvSpPr>
          <p:cNvPr id="70" name="Текст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73828" y="3548867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1A319B-0852-4F98-B29B-92157AE2A8C6}" type="datetime'''''2''''''''''''''''''''''''''0''''2''0'''''''''">
              <a:rPr lang="ru-RU" altLang="en-US" sz="1400" smtClean="0"/>
              <a:pPr/>
              <a:t>2020</a:t>
            </a:fld>
            <a:endParaRPr lang="ru-RU" sz="1400" dirty="0"/>
          </a:p>
        </p:txBody>
      </p:sp>
      <p:sp>
        <p:nvSpPr>
          <p:cNvPr id="129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493149" y="3244490"/>
            <a:ext cx="141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1961E4-31CD-427B-A644-441724352D6D}" type="datetime'''''''''''''''''''''''''''''''''''0''''''''''''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1400" dirty="0"/>
          </a:p>
        </p:txBody>
      </p:sp>
      <p:sp>
        <p:nvSpPr>
          <p:cNvPr id="18" name="Прямоугольник 17"/>
          <p:cNvSpPr/>
          <p:nvPr>
            <p:custDataLst>
              <p:tags r:id="rId9"/>
            </p:custDataLst>
          </p:nvPr>
        </p:nvSpPr>
        <p:spPr bwMode="auto">
          <a:xfrm>
            <a:off x="5518150" y="2490788"/>
            <a:ext cx="214313" cy="160338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>
            <p:custDataLst>
              <p:tags r:id="rId10"/>
            </p:custDataLst>
          </p:nvPr>
        </p:nvSpPr>
        <p:spPr bwMode="auto">
          <a:xfrm>
            <a:off x="5518150" y="2879725"/>
            <a:ext cx="214313" cy="160338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>
            <p:custDataLst>
              <p:tags r:id="rId11"/>
            </p:custDataLst>
          </p:nvPr>
        </p:nvSpPr>
        <p:spPr bwMode="auto">
          <a:xfrm>
            <a:off x="5518150" y="3268663"/>
            <a:ext cx="214313" cy="160338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783263" y="2887662"/>
            <a:ext cx="57229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C60552-9E28-4F9F-BAB0-3AA0F6816E95}" type="thinkcell&lt;?xml version=&quot;1.0&quot; encoding=&quot;UTF-16&quot; standalone=&quot;yes&quot;?&gt;&lt;root reqver=&quot;27037&quot;&gt;&lt;version val=&quot;32730&quot;/&gt;&lt;PersistentType&gt;&lt;m_guid val=&quot;bf5fa0fe-ae2f-4e3f-96b9-ede8f79a1f8b&quot;/&gt;&lt;m_prec&gt;&lt;m_yearfmt&gt;&lt;begin val=&quot;0&quot;/&gt;&lt;end val=&quot;4&quot;/&gt;&lt;/m_yearfmt&gt;&lt;/m_prec&gt;&lt;/PersistentType&gt;&lt;/root&gt;">
              <a:rPr lang="ru-RU" altLang="en-US" sz="1200" smtClean="0">
                <a:latin typeface="Arial" panose="020B0604020202020204" pitchFamily="34" charset="0"/>
              </a:rPr>
              <a:pPr/>
              <a:t>Кол-во проверок, по результатам которых комиссией по служебному поведению 
были установлены нарушения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5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783263" y="2498724"/>
            <a:ext cx="5951538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B85635-3D48-4F69-A323-3889098363BC}" type="thinkcell&lt;?xml version=&quot;1.0&quot; encoding=&quot;UTF-16&quot; standalone=&quot;yes&quot;?&gt;&lt;root reqver=&quot;27037&quot;&gt;&lt;version val=&quot;32730&quot;/&gt;&lt;PersistentType&gt;&lt;m_guid val=&quot;ef406e68-0bf0-4c7f-abb8-447c006de275&quot;/&gt;&lt;m_prec&gt;&lt;m_yearfmt&gt;&lt;begin val=&quot;0&quot;/&gt;&lt;end val=&quot;4&quot;/&gt;&lt;/m_yearfmt&gt;&lt;/m_prec&gt;&lt;/PersistentType&gt;&lt;/root&gt;">
              <a:rPr lang="ru-RU" altLang="en-US" sz="1200" smtClean="0">
                <a:latin typeface="Arial" panose="020B0604020202020204" pitchFamily="34" charset="0"/>
              </a:rPr>
              <a:pPr/>
              <a:t>Кол-во проведенных проверок достоверности и полноты предоставления сведений 
о доходах, об имуществе и обязательствах имущественного характера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783264" y="3276599"/>
            <a:ext cx="5210175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5FE1B5-9EC3-4725-979B-C4E249519090}" type="thinkcell&lt;?xml version=&quot;1.0&quot; encoding=&quot;UTF-16&quot; standalone=&quot;yes&quot;?&gt;&lt;root reqver=&quot;27037&quot;&gt;&lt;version val=&quot;32730&quot;/&gt;&lt;PersistentType&gt;&lt;m_guid val=&quot;2ea9626e-cc70-4bb3-a09f-aaa944d8eff7&quot;/&gt;&lt;m_prec&gt;&lt;m_yearfmt&gt;&lt;begin val=&quot;0&quot;/&gt;&lt;end val=&quot;4&quot;/&gt;&lt;/m_yearfmt&gt;&lt;/m_prec&gt;&lt;/PersistentType&gt;&lt;/root&gt;">
              <a:rPr lang="ru-RU" altLang="en-US" sz="1200" smtClean="0">
                <a:latin typeface="Arial" panose="020B0604020202020204" pitchFamily="34" charset="0"/>
              </a:rPr>
              <a:pPr/>
              <a:t>Количество служащих, привлеченных к дисциплинарной отвественности </a:t>
            </a:fld>
            <a:endParaRPr lang="ru-RU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1615403" y="1441799"/>
            <a:ext cx="102473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</a:pPr>
            <a:r>
              <a:rPr lang="ru-RU" sz="1400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В </a:t>
            </a:r>
            <a:r>
              <a:rPr lang="ru-RU" sz="1400" kern="0" dirty="0" smtClean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Министерстве проводится ежегодная </a:t>
            </a:r>
            <a:r>
              <a:rPr lang="ru-RU" sz="1400" kern="0" dirty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кампания по проведению проверок достоверности и полноты сведений о доходах, об имуществе и обязательствах имущественного характера, представленных </a:t>
            </a:r>
            <a:r>
              <a:rPr lang="ru-RU" sz="1400" kern="0" dirty="0" smtClean="0">
                <a:solidFill>
                  <a:srgbClr val="002960"/>
                </a:solidFill>
                <a:latin typeface="Arial"/>
                <a:ea typeface="+mj-ea"/>
                <a:cs typeface="+mj-cs"/>
              </a:rPr>
              <a:t>служащими (при наличии оснований)</a:t>
            </a:r>
            <a:endParaRPr lang="ru-RU" sz="1400" kern="0" dirty="0">
              <a:solidFill>
                <a:srgbClr val="002960"/>
              </a:solidFill>
              <a:latin typeface="Arial"/>
              <a:ea typeface="+mj-ea"/>
              <a:cs typeface="+mj-cs"/>
            </a:endParaRPr>
          </a:p>
        </p:txBody>
      </p:sp>
      <p:pic>
        <p:nvPicPr>
          <p:cNvPr id="166" name="Рисунок 165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334116" y="1417467"/>
            <a:ext cx="705012" cy="705012"/>
          </a:xfrm>
          <a:prstGeom prst="rect">
            <a:avLst/>
          </a:prstGeom>
        </p:spPr>
      </p:pic>
      <p:grpSp>
        <p:nvGrpSpPr>
          <p:cNvPr id="168" name="Группа 167"/>
          <p:cNvGrpSpPr/>
          <p:nvPr/>
        </p:nvGrpSpPr>
        <p:grpSpPr>
          <a:xfrm>
            <a:off x="-14478" y="-25138"/>
            <a:ext cx="12192001" cy="760325"/>
            <a:chOff x="-10201" y="1843810"/>
            <a:chExt cx="12192001" cy="760325"/>
          </a:xfrm>
        </p:grpSpPr>
        <p:sp>
          <p:nvSpPr>
            <p:cNvPr id="169" name="Freeform 1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785400" y="184965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170" name="Freeform 10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220500" y="184965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171" name="Freeform 10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437430" y="184965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/>
            </a:p>
          </p:txBody>
        </p:sp>
        <p:sp>
          <p:nvSpPr>
            <p:cNvPr id="172" name="Freeform 10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849630" y="1849655"/>
              <a:ext cx="2080470" cy="75448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173" name="Freeform 10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090700" y="184965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174" name="Freeform 10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7655600" y="184965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175" name="Freeform 1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-10201" y="1843810"/>
              <a:ext cx="1589831" cy="617167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176" name="Freeform 10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0525800" y="1849654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177" name="Rectangle 11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6390754" y="1882063"/>
              <a:ext cx="1043946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я о коррупционных нарушениях</a:t>
              </a:r>
            </a:p>
          </p:txBody>
        </p:sp>
        <p:sp>
          <p:nvSpPr>
            <p:cNvPr id="178" name="Rectangle 1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7876500" y="1882063"/>
              <a:ext cx="1106245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 результатах просветительских мероприятий</a:t>
              </a:r>
            </a:p>
          </p:txBody>
        </p:sp>
        <p:sp>
          <p:nvSpPr>
            <p:cNvPr id="179" name="Rectangle 1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0672732" y="1882063"/>
              <a:ext cx="1321438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Rectangle 1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4926651" y="1882063"/>
              <a:ext cx="1293849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 Результативность антикоррупционной экспертизы</a:t>
              </a:r>
            </a:p>
          </p:txBody>
        </p:sp>
        <p:sp>
          <p:nvSpPr>
            <p:cNvPr id="182" name="Rectangle 1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607694" y="1907083"/>
              <a:ext cx="1223532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расходах об имуществе…</a:t>
              </a:r>
            </a:p>
          </p:txBody>
        </p:sp>
        <p:sp>
          <p:nvSpPr>
            <p:cNvPr id="183" name="Прямоугольник 182"/>
            <p:cNvSpPr/>
            <p:nvPr/>
          </p:nvSpPr>
          <p:spPr>
            <a:xfrm>
              <a:off x="63302" y="1894375"/>
              <a:ext cx="1360096" cy="515375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н </a:t>
              </a:r>
              <a:r>
                <a:rPr lang="ru-RU" sz="1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 по противодействию коррупции</a:t>
              </a:r>
            </a:p>
          </p:txBody>
        </p:sp>
        <p:sp>
          <p:nvSpPr>
            <p:cNvPr id="184" name="Rectangle 1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162654" y="1907083"/>
              <a:ext cx="1476060" cy="540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3929265" y="2705061"/>
            <a:ext cx="2760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/>
              <a:t>4</a:t>
            </a:r>
            <a:endParaRPr lang="ru-RU" sz="14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4173478" y="2715623"/>
            <a:ext cx="27603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/>
              <a:t>4</a:t>
            </a:r>
            <a:endParaRPr lang="ru-RU" sz="1400" dirty="0"/>
          </a:p>
        </p:txBody>
      </p:sp>
      <p:sp>
        <p:nvSpPr>
          <p:cNvPr id="56" name="Текст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500856" y="3244490"/>
            <a:ext cx="141288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1961E4-31CD-427B-A644-441724352D6D}" type="datetime'''''''''''''''''''''''''''''''''''0'''''''''''''''''''''''''''">
              <a:rPr lang="ru-RU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ru-RU" sz="1400" dirty="0"/>
          </a:p>
        </p:txBody>
      </p:sp>
      <p:sp>
        <p:nvSpPr>
          <p:cNvPr id="57" name="Текст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41610" y="3546500"/>
            <a:ext cx="3746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/>
              <a:t>2022</a:t>
            </a:r>
            <a:endParaRPr lang="ru-RU" sz="1400" dirty="0"/>
          </a:p>
        </p:txBody>
      </p:sp>
      <p:grpSp>
        <p:nvGrpSpPr>
          <p:cNvPr id="58" name="Группа 57"/>
          <p:cNvGrpSpPr/>
          <p:nvPr/>
        </p:nvGrpSpPr>
        <p:grpSpPr>
          <a:xfrm>
            <a:off x="308716" y="3832532"/>
            <a:ext cx="11344930" cy="2628553"/>
            <a:chOff x="290428" y="1676077"/>
            <a:chExt cx="11344930" cy="2987797"/>
          </a:xfrm>
        </p:grpSpPr>
        <p:sp>
          <p:nvSpPr>
            <p:cNvPr id="59" name="Title 1"/>
            <p:cNvSpPr txBox="1">
              <a:spLocks/>
            </p:cNvSpPr>
            <p:nvPr/>
          </p:nvSpPr>
          <p:spPr bwMode="auto">
            <a:xfrm>
              <a:off x="1602447" y="1677342"/>
              <a:ext cx="10008528" cy="7084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tabLst>
                  <a:tab pos="357188" algn="l"/>
                </a:tabLst>
                <a:defRPr sz="1900" b="1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2pPr>
              <a:lvl3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3pPr>
              <a:lvl4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4pPr>
              <a:lvl5pPr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5pPr>
              <a:lvl6pPr marL="4572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6pPr>
              <a:lvl7pPr marL="9144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7pPr>
              <a:lvl8pPr marL="13716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8pPr>
              <a:lvl9pPr marL="182880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defRPr sz="1900" b="1">
                  <a:solidFill>
                    <a:schemeClr val="tx2"/>
                  </a:solidFill>
                  <a:latin typeface="Arial" charset="0"/>
                </a:defRPr>
              </a:lvl9pPr>
            </a:lstStyle>
            <a:p>
              <a:r>
                <a:rPr lang="ru-RU" sz="1350" b="0" kern="0" dirty="0">
                  <a:solidFill>
                    <a:srgbClr val="002960"/>
                  </a:solidFill>
                  <a:latin typeface="Arial"/>
                </a:rPr>
                <a:t>В </a:t>
              </a:r>
              <a:r>
                <a:rPr lang="ru-RU" sz="1350" b="0" kern="0" dirty="0" smtClean="0">
                  <a:solidFill>
                    <a:srgbClr val="002960"/>
                  </a:solidFill>
                  <a:latin typeface="Arial"/>
                </a:rPr>
                <a:t>2022 </a:t>
              </a:r>
              <a:r>
                <a:rPr lang="ru-RU" sz="1350" b="0" kern="0" dirty="0">
                  <a:solidFill>
                    <a:srgbClr val="002960"/>
                  </a:solidFill>
                  <a:latin typeface="Arial"/>
                </a:rPr>
                <a:t>году </a:t>
              </a:r>
              <a:r>
                <a:rPr lang="ru-RU" sz="1350" b="0" kern="0" dirty="0" smtClean="0">
                  <a:solidFill>
                    <a:srgbClr val="002960"/>
                  </a:solidFill>
                  <a:latin typeface="Arial"/>
                </a:rPr>
                <a:t>по результатам анализа сведений, представленных в рамках декларационной кампании, в </a:t>
              </a:r>
              <a:r>
                <a:rPr lang="ru-RU" sz="1350" b="0" kern="0" dirty="0">
                  <a:solidFill>
                    <a:srgbClr val="002960"/>
                  </a:solidFill>
                  <a:latin typeface="Arial"/>
                </a:rPr>
                <a:t>Министерстве </a:t>
              </a:r>
              <a:r>
                <a:rPr lang="ru-RU" sz="1350" b="0" kern="0" dirty="0" smtClean="0">
                  <a:solidFill>
                    <a:srgbClr val="002960"/>
                  </a:solidFill>
                  <a:latin typeface="Arial"/>
                </a:rPr>
                <a:t>проведены </a:t>
              </a:r>
              <a:r>
                <a:rPr lang="ru-RU" sz="1350" b="0" kern="0" dirty="0">
                  <a:solidFill>
                    <a:srgbClr val="002960"/>
                  </a:solidFill>
                  <a:latin typeface="Arial"/>
                </a:rPr>
                <a:t>проверки достоверности и полноты сведений о доходах, имуществе </a:t>
              </a:r>
              <a:r>
                <a:rPr lang="ru-RU" sz="1350" b="0" kern="0" dirty="0" smtClean="0">
                  <a:solidFill>
                    <a:srgbClr val="002960"/>
                  </a:solidFill>
                  <a:latin typeface="Arial"/>
                </a:rPr>
                <a:t>и обязательствах </a:t>
              </a:r>
              <a:r>
                <a:rPr lang="ru-RU" sz="1350" b="0" kern="0" dirty="0">
                  <a:solidFill>
                    <a:srgbClr val="002960"/>
                  </a:solidFill>
                  <a:latin typeface="Arial"/>
                </a:rPr>
                <a:t>имущественного характера в отношении </a:t>
              </a:r>
              <a:r>
                <a:rPr lang="ru-RU" sz="1350" b="0" kern="0" dirty="0" smtClean="0">
                  <a:solidFill>
                    <a:srgbClr val="002960"/>
                  </a:solidFill>
                  <a:latin typeface="Arial"/>
                </a:rPr>
                <a:t>4 </a:t>
              </a:r>
              <a:r>
                <a:rPr lang="ru-RU" sz="1350" b="0" kern="0" dirty="0">
                  <a:solidFill>
                    <a:srgbClr val="002960"/>
                  </a:solidFill>
                  <a:latin typeface="Arial"/>
                </a:rPr>
                <a:t>государственных гражданских служащих</a:t>
              </a:r>
              <a:endParaRPr lang="en-US" sz="1350" b="0" kern="0" dirty="0">
                <a:solidFill>
                  <a:srgbClr val="002960"/>
                </a:solidFill>
                <a:latin typeface="Arial"/>
              </a:endParaRPr>
            </a:p>
          </p:txBody>
        </p:sp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290428" y="1676077"/>
              <a:ext cx="1078236" cy="1078236"/>
            </a:xfrm>
            <a:prstGeom prst="rect">
              <a:avLst/>
            </a:prstGeom>
          </p:spPr>
        </p:pic>
        <p:grpSp>
          <p:nvGrpSpPr>
            <p:cNvPr id="61" name="Группа 60"/>
            <p:cNvGrpSpPr/>
            <p:nvPr/>
          </p:nvGrpSpPr>
          <p:grpSpPr>
            <a:xfrm>
              <a:off x="2458572" y="2438561"/>
              <a:ext cx="9176786" cy="2225313"/>
              <a:chOff x="2458572" y="2438561"/>
              <a:chExt cx="9176786" cy="2225313"/>
            </a:xfrm>
          </p:grpSpPr>
          <p:sp>
            <p:nvSpPr>
              <p:cNvPr id="64" name="Равнобедренный треугольник 63"/>
              <p:cNvSpPr/>
              <p:nvPr/>
            </p:nvSpPr>
            <p:spPr>
              <a:xfrm rot="16200000" flipH="1">
                <a:off x="5083988" y="3730748"/>
                <a:ext cx="1746046" cy="120206"/>
              </a:xfrm>
              <a:prstGeom prst="triangle">
                <a:avLst/>
              </a:prstGeom>
              <a:ln>
                <a:noFill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cxnSp>
            <p:nvCxnSpPr>
              <p:cNvPr id="66" name="Прямая соединительная линия 65"/>
              <p:cNvCxnSpPr/>
              <p:nvPr/>
            </p:nvCxnSpPr>
            <p:spPr>
              <a:xfrm>
                <a:off x="3182492" y="2809911"/>
                <a:ext cx="493713" cy="0"/>
              </a:xfrm>
              <a:prstGeom prst="line">
                <a:avLst/>
              </a:prstGeom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sp>
            <p:nvSpPr>
              <p:cNvPr id="68" name="Прямоугольник 67">
                <a:extLst>
                  <a:ext uri="{FF2B5EF4-FFF2-40B4-BE49-F238E27FC236}">
                    <a16:creationId xmlns:a16="http://schemas.microsoft.com/office/drawing/2014/main" xmlns="" id="{98EB543B-6808-4C0A-8C77-0F604A37EFA1}"/>
                  </a:ext>
                </a:extLst>
              </p:cNvPr>
              <p:cNvSpPr/>
              <p:nvPr/>
            </p:nvSpPr>
            <p:spPr>
              <a:xfrm>
                <a:off x="6197960" y="3237050"/>
                <a:ext cx="1707705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1</a:t>
                </a:r>
                <a:r>
                  <a:rPr lang="ru-RU" dirty="0" smtClean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lang="ru-RU" sz="1400" dirty="0" smtClean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гражданин</a:t>
                </a:r>
                <a:endParaRPr lang="ru-RU" sz="1400" dirty="0">
                  <a:latin typeface="Arial" panose="020B0604020202020204" pitchFamily="34" charset="0"/>
                  <a:ea typeface="Liberation Serif" panose="020206030504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Прямоугольник 71">
                <a:extLst>
                  <a:ext uri="{FF2B5EF4-FFF2-40B4-BE49-F238E27FC236}">
                    <a16:creationId xmlns:a16="http://schemas.microsoft.com/office/drawing/2014/main" xmlns="" id="{98EB543B-6808-4C0A-8C77-0F604A37EFA1}"/>
                  </a:ext>
                </a:extLst>
              </p:cNvPr>
              <p:cNvSpPr/>
              <p:nvPr/>
            </p:nvSpPr>
            <p:spPr>
              <a:xfrm>
                <a:off x="6197960" y="3979643"/>
                <a:ext cx="1707705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rgbClr val="C00000"/>
                    </a:solidFill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3</a:t>
                </a:r>
                <a:r>
                  <a:rPr lang="ru-RU" dirty="0" smtClean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lang="ru-RU" sz="1400" dirty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гос. </a:t>
                </a:r>
                <a:r>
                  <a:rPr lang="ru-RU" sz="1400" dirty="0" smtClean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служащих</a:t>
                </a:r>
                <a:endParaRPr lang="ru-RU" sz="1400" dirty="0">
                  <a:latin typeface="Arial" panose="020B0604020202020204" pitchFamily="34" charset="0"/>
                  <a:ea typeface="Liberation Serif" panose="020206030504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Прямоугольник 72">
                <a:extLst>
                  <a:ext uri="{FF2B5EF4-FFF2-40B4-BE49-F238E27FC236}">
                    <a16:creationId xmlns:a16="http://schemas.microsoft.com/office/drawing/2014/main" xmlns="" id="{98EB543B-6808-4C0A-8C77-0F604A37EFA1}"/>
                  </a:ext>
                </a:extLst>
              </p:cNvPr>
              <p:cNvSpPr/>
              <p:nvPr/>
            </p:nvSpPr>
            <p:spPr>
              <a:xfrm>
                <a:off x="8001728" y="3190884"/>
                <a:ext cx="3633630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i="1" dirty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решение об отсутствии оснований для привлечения к юридической ответственности</a:t>
                </a:r>
              </a:p>
            </p:txBody>
          </p:sp>
          <p:sp>
            <p:nvSpPr>
              <p:cNvPr id="74" name="Прямоугольник 73">
                <a:extLst>
                  <a:ext uri="{FF2B5EF4-FFF2-40B4-BE49-F238E27FC236}">
                    <a16:creationId xmlns:a16="http://schemas.microsoft.com/office/drawing/2014/main" xmlns="" id="{98EB543B-6808-4C0A-8C77-0F604A37EFA1}"/>
                  </a:ext>
                </a:extLst>
              </p:cNvPr>
              <p:cNvSpPr/>
              <p:nvPr/>
            </p:nvSpPr>
            <p:spPr>
              <a:xfrm>
                <a:off x="7977345" y="3841144"/>
                <a:ext cx="3633630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200" i="1" dirty="0" smtClean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указание </a:t>
                </a:r>
                <a:r>
                  <a:rPr lang="ru-RU" sz="1200" i="1" dirty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на недопустимость нарушения законодательства о противодействии коррупции</a:t>
                </a:r>
              </a:p>
            </p:txBody>
          </p:sp>
          <p:sp>
            <p:nvSpPr>
              <p:cNvPr id="75" name="Прямоугольник 74">
                <a:extLst>
                  <a:ext uri="{FF2B5EF4-FFF2-40B4-BE49-F238E27FC236}">
                    <a16:creationId xmlns:a16="http://schemas.microsoft.com/office/drawing/2014/main" xmlns="" id="{98EB543B-6808-4C0A-8C77-0F604A37EFA1}"/>
                  </a:ext>
                </a:extLst>
              </p:cNvPr>
              <p:cNvSpPr/>
              <p:nvPr/>
            </p:nvSpPr>
            <p:spPr>
              <a:xfrm>
                <a:off x="8001728" y="2438561"/>
                <a:ext cx="3492279" cy="276999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200" dirty="0" smtClean="0">
                    <a:latin typeface="Arial" panose="020B0604020202020204" pitchFamily="34" charset="0"/>
                    <a:ea typeface="Liberation Serif" panose="02020603050405020304" pitchFamily="18" charset="0"/>
                    <a:cs typeface="Arial" panose="020B0604020202020204" pitchFamily="34" charset="0"/>
                  </a:rPr>
                  <a:t>ПРИНЯТЫЕ МЕРЫ</a:t>
                </a:r>
                <a:endParaRPr lang="ru-RU" sz="1400" dirty="0">
                  <a:latin typeface="Arial" panose="020B0604020202020204" pitchFamily="34" charset="0"/>
                  <a:ea typeface="Liberation Serif" panose="02020603050405020304" pitchFamily="18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TextBox 75"/>
              <p:cNvSpPr txBox="1"/>
              <p:nvPr/>
            </p:nvSpPr>
            <p:spPr>
              <a:xfrm>
                <a:off x="2458572" y="3133175"/>
                <a:ext cx="1162749" cy="9464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240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33</a:t>
                </a:r>
                <a:r>
                  <a:rPr lang="ru-RU" dirty="0" smtClean="0"/>
                  <a:t> </a:t>
                </a:r>
              </a:p>
              <a:p>
                <a:pPr algn="ctr"/>
                <a:r>
                  <a:rPr lang="ru-RU" sz="105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гос. служащих,</a:t>
                </a:r>
              </a:p>
              <a:p>
                <a:pPr algn="ctr"/>
                <a:r>
                  <a:rPr lang="ru-RU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п</a:t>
                </a:r>
                <a:r>
                  <a:rPr lang="ru-RU" sz="1050" dirty="0" smtClean="0">
                    <a:latin typeface="Arial" panose="020B0604020202020204" pitchFamily="34" charset="0"/>
                    <a:cs typeface="Arial" panose="020B0604020202020204" pitchFamily="34" charset="0"/>
                  </a:rPr>
                  <a:t>одающих сведения</a:t>
                </a:r>
                <a:endParaRPr lang="ru-RU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63" name="Прямая соединительная линия 62"/>
              <p:cNvCxnSpPr>
                <a:endCxn id="64" idx="0"/>
              </p:cNvCxnSpPr>
              <p:nvPr/>
            </p:nvCxnSpPr>
            <p:spPr>
              <a:xfrm>
                <a:off x="3685377" y="2808521"/>
                <a:ext cx="2211531" cy="982330"/>
              </a:xfrm>
              <a:prstGeom prst="line">
                <a:avLst/>
              </a:prstGeom>
              <a:ln/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</p:grpSp>
      </p:grpSp>
      <p:sp>
        <p:nvSpPr>
          <p:cNvPr id="78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112156" y="4732770"/>
            <a:ext cx="498475" cy="192088"/>
          </a:xfrm>
          <a:prstGeom prst="rect">
            <a:avLst/>
          </a:prstGeom>
          <a:solidFill>
            <a:srgbClr val="C30C3E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b="1" dirty="0" smtClean="0">
                <a:solidFill>
                  <a:schemeClr val="bg1"/>
                </a:solidFill>
              </a:rPr>
              <a:t>12,1%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54" name="Rectangle 1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9473701" y="42242"/>
            <a:ext cx="1016998" cy="481744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447" tIns="0" rIns="3447" bIns="0" anchor="ctr">
            <a:noAutofit/>
          </a:bodyPr>
          <a:lstStyle/>
          <a:p>
            <a:pPr defTabSz="809934">
              <a:buClr>
                <a:schemeClr val="tx2"/>
              </a:buClr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VII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О ведении страницы Министерства </a:t>
            </a:r>
          </a:p>
          <a:p>
            <a:pPr defTabSz="809934">
              <a:buClr>
                <a:schemeClr val="tx2"/>
              </a:buClr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в социальн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е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512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Объект 4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17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Слайд think-cell" r:id="rId39" imgW="347" imgH="348" progId="TCLayout.ActiveDocument.1">
                  <p:embed/>
                </p:oleObj>
              </mc:Choice>
              <mc:Fallback>
                <p:oleObj name="Слайд think-cell" r:id="rId3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1"/>
          <p:cNvSpPr txBox="1">
            <a:spLocks/>
          </p:cNvSpPr>
          <p:nvPr/>
        </p:nvSpPr>
        <p:spPr bwMode="auto">
          <a:xfrm>
            <a:off x="209549" y="760273"/>
            <a:ext cx="11967974" cy="47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В 2022 году проведена работа по повышению </a:t>
            </a:r>
            <a:r>
              <a:rPr lang="ru-RU" sz="1544" kern="0" dirty="0">
                <a:solidFill>
                  <a:srgbClr val="002960"/>
                </a:solidFill>
                <a:latin typeface="Arial"/>
              </a:rPr>
              <a:t>результативности антикоррупционной экспертизы нормативных правовых актов и проектов нормативных правовых </a:t>
            </a:r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актов Свердловской области, разработанных Министерством</a:t>
            </a:r>
            <a:endParaRPr lang="en-US" sz="1544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5</a:t>
            </a:fld>
            <a:endParaRPr lang="ru-RU" dirty="0"/>
          </a:p>
        </p:txBody>
      </p:sp>
      <p:graphicFrame>
        <p:nvGraphicFramePr>
          <p:cNvPr id="126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04241560"/>
              </p:ext>
            </p:extLst>
          </p:nvPr>
        </p:nvGraphicFramePr>
        <p:xfrm>
          <a:off x="7751763" y="2499093"/>
          <a:ext cx="3117850" cy="2770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111" name="Прямоугольник 110"/>
          <p:cNvSpPr/>
          <p:nvPr>
            <p:custDataLst>
              <p:tags r:id="rId4"/>
            </p:custDataLst>
          </p:nvPr>
        </p:nvSpPr>
        <p:spPr bwMode="auto">
          <a:xfrm>
            <a:off x="7489825" y="5857875"/>
            <a:ext cx="187325" cy="139700"/>
          </a:xfrm>
          <a:prstGeom prst="rect">
            <a:avLst/>
          </a:prstGeom>
          <a:solidFill>
            <a:srgbClr val="FB313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Прямоугольник 108"/>
          <p:cNvSpPr/>
          <p:nvPr>
            <p:custDataLst>
              <p:tags r:id="rId5"/>
            </p:custDataLst>
          </p:nvPr>
        </p:nvSpPr>
        <p:spPr bwMode="auto">
          <a:xfrm>
            <a:off x="7489825" y="5451475"/>
            <a:ext cx="187325" cy="139700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0" name="Прямоугольник 109"/>
          <p:cNvSpPr/>
          <p:nvPr>
            <p:custDataLst>
              <p:tags r:id="rId6"/>
            </p:custDataLst>
          </p:nvPr>
        </p:nvSpPr>
        <p:spPr bwMode="auto">
          <a:xfrm>
            <a:off x="7489825" y="5654675"/>
            <a:ext cx="187325" cy="1397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Текст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727950" y="5459413"/>
            <a:ext cx="3281363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BD22C9-E07C-4EBF-BA80-E392D3AC4228}" type="datetime'П''''рое''кты указов Губе''рнатора ''Сверд''ловской облас''ти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роекты указов Губернатора Свердловской области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727950" y="5662613"/>
            <a:ext cx="39655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CB0764-1273-43E4-B118-5D9E0B080FF0}" type="datetime'Проекты постановлений Правите''льства Сверд''ловской области'">
              <a:rPr lang="ru-RU" altLang="en-US" sz="1050" smtClean="0">
                <a:latin typeface="Arial" panose="020B0604020202020204" pitchFamily="34" charset="0"/>
              </a:rPr>
              <a:pPr/>
              <a:t>Проекты постановлений Правительства Свердловской области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727950" y="5865813"/>
            <a:ext cx="2051050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DB6550-CFA0-4E02-8BF9-726BF0911F4B}" type="datetime'Пр''ое''к''ты'' приказов'' ''''Мин''''''''''ис''те''рства'''''">
              <a:rPr lang="ru-RU" altLang="en-US" sz="105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Проекты приказов Министерства</a:t>
            </a:fld>
            <a:endParaRPr lang="ru-RU" sz="105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2" name="Title 1"/>
          <p:cNvSpPr txBox="1">
            <a:spLocks/>
          </p:cNvSpPr>
          <p:nvPr/>
        </p:nvSpPr>
        <p:spPr bwMode="auto">
          <a:xfrm>
            <a:off x="471724" y="1498251"/>
            <a:ext cx="5080957" cy="8617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400" b="0" kern="0" dirty="0">
                <a:solidFill>
                  <a:srgbClr val="002960"/>
                </a:solidFill>
                <a:latin typeface="Arial"/>
              </a:rPr>
              <a:t>В </a:t>
            </a:r>
            <a:r>
              <a:rPr lang="ru-RU" sz="1400" b="0" kern="0" dirty="0" smtClean="0">
                <a:solidFill>
                  <a:srgbClr val="002960"/>
                </a:solidFill>
                <a:latin typeface="Arial"/>
              </a:rPr>
              <a:t>2022 </a:t>
            </a:r>
            <a:r>
              <a:rPr lang="ru-RU" sz="1400" b="0" kern="0" dirty="0">
                <a:solidFill>
                  <a:srgbClr val="002960"/>
                </a:solidFill>
                <a:latin typeface="Arial"/>
              </a:rPr>
              <a:t>году продолжена работа по </a:t>
            </a:r>
            <a:r>
              <a:rPr lang="ru-RU" sz="1400" b="0" kern="0" dirty="0" smtClean="0">
                <a:solidFill>
                  <a:srgbClr val="002960"/>
                </a:solidFill>
                <a:latin typeface="Arial"/>
              </a:rPr>
              <a:t>обеспечению условий для проведения независимой антикоррупционной </a:t>
            </a:r>
            <a:r>
              <a:rPr lang="ru-RU" sz="1400" b="0" kern="0" dirty="0">
                <a:solidFill>
                  <a:srgbClr val="002960"/>
                </a:solidFill>
                <a:latin typeface="Arial"/>
              </a:rPr>
              <a:t>экспертизы НПА, проекты которых разработаны Министерством</a:t>
            </a:r>
            <a:endParaRPr lang="en-US" sz="1400" b="0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143" name="Title 1"/>
          <p:cNvSpPr txBox="1">
            <a:spLocks/>
          </p:cNvSpPr>
          <p:nvPr/>
        </p:nvSpPr>
        <p:spPr bwMode="auto">
          <a:xfrm>
            <a:off x="6770498" y="1581605"/>
            <a:ext cx="519626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400" b="0" kern="0" dirty="0">
                <a:solidFill>
                  <a:srgbClr val="002960"/>
                </a:solidFill>
                <a:latin typeface="Arial"/>
              </a:rPr>
              <a:t>Результаты антикоррупционной экспертизы </a:t>
            </a:r>
            <a:r>
              <a:rPr lang="ru-RU" sz="1400" b="0" kern="0" dirty="0" smtClean="0">
                <a:solidFill>
                  <a:srgbClr val="002960"/>
                </a:solidFill>
                <a:latin typeface="Arial"/>
              </a:rPr>
              <a:t>в 2022 </a:t>
            </a:r>
            <a:r>
              <a:rPr lang="ru-RU" sz="1400" b="0" kern="0" dirty="0">
                <a:solidFill>
                  <a:srgbClr val="002960"/>
                </a:solidFill>
                <a:latin typeface="Arial"/>
              </a:rPr>
              <a:t>году </a:t>
            </a:r>
            <a:r>
              <a:rPr lang="ru-RU" sz="1400" b="0" kern="0" dirty="0" smtClean="0">
                <a:solidFill>
                  <a:srgbClr val="002960"/>
                </a:solidFill>
                <a:latin typeface="Arial"/>
              </a:rPr>
              <a:t>определили </a:t>
            </a:r>
            <a:r>
              <a:rPr lang="ru-RU" sz="1400" b="0" u="sng" kern="0" dirty="0">
                <a:solidFill>
                  <a:srgbClr val="002960"/>
                </a:solidFill>
                <a:latin typeface="Arial"/>
              </a:rPr>
              <a:t>отсутствие коррупциогенных факторов</a:t>
            </a:r>
            <a:endParaRPr lang="en-US" sz="1400" b="0" u="sng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144" name="McK 5. Source">
            <a:extLst>
              <a:ext uri="{FF2B5EF4-FFF2-40B4-BE49-F238E27FC236}">
                <a16:creationId xmlns:a16="http://schemas.microsoft.com/office/drawing/2014/main" xmlns="" id="{DB77CC44-E437-4BF2-816B-0171EDD00063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81618" y="6627107"/>
            <a:ext cx="104144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733737" indent="-733737" defTabSz="913526">
              <a:tabLst>
                <a:tab pos="730497" algn="l"/>
              </a:tabLst>
            </a:pPr>
            <a:endParaRPr lang="en-US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8729313" y="3575587"/>
            <a:ext cx="1162749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77</a:t>
            </a:r>
            <a:r>
              <a:rPr lang="ru-RU" dirty="0" smtClean="0"/>
              <a:t> </a:t>
            </a:r>
          </a:p>
          <a:p>
            <a:pPr algn="ctr"/>
            <a:r>
              <a:rPr lang="ru-RU" sz="1050" dirty="0" smtClean="0">
                <a:latin typeface="Arial" panose="020B0604020202020204" pitchFamily="34" charset="0"/>
                <a:cs typeface="Arial" panose="020B0604020202020204" pitchFamily="34" charset="0"/>
              </a:rPr>
              <a:t>НПА</a:t>
            </a:r>
            <a:endParaRPr lang="ru-RU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Прямоугольник 170"/>
          <p:cNvSpPr/>
          <p:nvPr/>
        </p:nvSpPr>
        <p:spPr>
          <a:xfrm>
            <a:off x="281618" y="2400366"/>
            <a:ext cx="5207232" cy="4571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Прямоугольник 171"/>
          <p:cNvSpPr/>
          <p:nvPr/>
        </p:nvSpPr>
        <p:spPr>
          <a:xfrm>
            <a:off x="6498709" y="2400365"/>
            <a:ext cx="5207232" cy="4571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0"/>
                </a:schemeClr>
              </a:gs>
              <a:gs pos="50000">
                <a:schemeClr val="accent1">
                  <a:lumMod val="40000"/>
                  <a:lumOff val="6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60" name="Группа 59"/>
          <p:cNvGrpSpPr/>
          <p:nvPr/>
        </p:nvGrpSpPr>
        <p:grpSpPr>
          <a:xfrm>
            <a:off x="-10201" y="-19050"/>
            <a:ext cx="12192001" cy="710216"/>
            <a:chOff x="-10201" y="2857656"/>
            <a:chExt cx="12192001" cy="710216"/>
          </a:xfrm>
        </p:grpSpPr>
        <p:sp>
          <p:nvSpPr>
            <p:cNvPr id="61" name="Freeform 10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6220500" y="286350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2" name="Freeform 10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1437430" y="286350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/>
            </a:p>
          </p:txBody>
        </p:sp>
        <p:sp>
          <p:nvSpPr>
            <p:cNvPr id="63" name="Freeform 1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2925830" y="2863500"/>
              <a:ext cx="20804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4" name="Freeform 10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9090700" y="286350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5" name="Freeform 1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7655600" y="286350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6" name="Freeform 10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-10201" y="2857656"/>
              <a:ext cx="1589831" cy="617167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7" name="Freeform 10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10525800" y="286350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8" name="Freeform 10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4528530" y="2863500"/>
              <a:ext cx="1910370" cy="704372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9" name="Rectangle 1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1628089" y="2915240"/>
              <a:ext cx="1223532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расходах об имуществе…</a:t>
              </a: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83697" y="2902532"/>
              <a:ext cx="1360096" cy="515375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н </a:t>
              </a:r>
              <a:r>
                <a:rPr lang="ru-RU" sz="1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 по противодействию коррупции</a:t>
              </a:r>
            </a:p>
          </p:txBody>
        </p:sp>
        <p:sp>
          <p:nvSpPr>
            <p:cNvPr id="71" name="Rectangle 1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148311" y="2902532"/>
              <a:ext cx="1155454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  <p:sp>
          <p:nvSpPr>
            <p:cNvPr id="72" name="Rectangle 1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696130" y="2945686"/>
              <a:ext cx="1580274" cy="540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 Результативность антикоррупционной экспертизы</a:t>
              </a:r>
            </a:p>
          </p:txBody>
        </p:sp>
        <p:sp>
          <p:nvSpPr>
            <p:cNvPr id="73" name="Rectangle 11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6498709" y="2898965"/>
              <a:ext cx="1043946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я о коррупционных нарушениях</a:t>
              </a:r>
            </a:p>
          </p:txBody>
        </p:sp>
        <p:sp>
          <p:nvSpPr>
            <p:cNvPr id="74" name="Rectangle 1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7984455" y="2898965"/>
              <a:ext cx="1106245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 результатах просветительских мероприятий</a:t>
              </a:r>
            </a:p>
          </p:txBody>
        </p:sp>
        <p:sp>
          <p:nvSpPr>
            <p:cNvPr id="75" name="Rectangle 1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10780687" y="2898965"/>
              <a:ext cx="1321438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124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43043374"/>
              </p:ext>
            </p:extLst>
          </p:nvPr>
        </p:nvGraphicFramePr>
        <p:xfrm>
          <a:off x="761504" y="2673987"/>
          <a:ext cx="4773613" cy="2765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79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12750" y="3034212"/>
            <a:ext cx="361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6D7479-06B4-41DE-AFAF-3FA460D68820}" type="datetime'''''''''2''''''''''''0''''''1''''9'''''''''''''''''">
              <a:rPr lang="ru-RU" altLang="en-US" sz="1400" smtClean="0"/>
              <a:pPr/>
              <a:t>2019</a:t>
            </a:fld>
            <a:endParaRPr lang="ru-RU" sz="1400" dirty="0"/>
          </a:p>
        </p:txBody>
      </p:sp>
      <p:sp>
        <p:nvSpPr>
          <p:cNvPr id="80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12750" y="3670427"/>
            <a:ext cx="361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0FD4EB-6A5E-4ECA-8771-EDABB2E3BA6F}" type="datetime'''2''''''''''''''''0''''''''''2''''''''''''''''''0'''''''''''">
              <a:rPr lang="ru-RU" altLang="en-US" sz="1400" smtClean="0"/>
              <a:pPr/>
              <a:t>2020</a:t>
            </a:fld>
            <a:endParaRPr lang="ru-RU" sz="1400" dirty="0"/>
          </a:p>
        </p:txBody>
      </p:sp>
      <p:sp>
        <p:nvSpPr>
          <p:cNvPr id="81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12750" y="4295725"/>
            <a:ext cx="361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EE03C9E-82E8-4346-9BB5-E97D41C71597}" type="datetime'''''''''''''''''''''''2''''''''''''''02''''''''''''1'">
              <a:rPr lang="ru-RU" altLang="en-US" sz="1400" smtClean="0"/>
              <a:pPr/>
              <a:t>2021</a:t>
            </a:fld>
            <a:endParaRPr lang="ru-RU" sz="1400" dirty="0"/>
          </a:p>
        </p:txBody>
      </p:sp>
      <p:sp>
        <p:nvSpPr>
          <p:cNvPr id="15" name="Прямоугольник 14"/>
          <p:cNvSpPr/>
          <p:nvPr>
            <p:custDataLst>
              <p:tags r:id="rId15"/>
            </p:custDataLst>
          </p:nvPr>
        </p:nvSpPr>
        <p:spPr bwMode="auto">
          <a:xfrm>
            <a:off x="947738" y="6221087"/>
            <a:ext cx="196850" cy="147638"/>
          </a:xfrm>
          <a:prstGeom prst="rect">
            <a:avLst/>
          </a:prstGeom>
          <a:pattFill prst="wdDnDiag">
            <a:fgClr>
              <a:schemeClr val="tx1"/>
            </a:fgClr>
            <a:bgClr>
              <a:schemeClr val="bg1"/>
            </a:bgClr>
          </a:patt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>
            <p:custDataLst>
              <p:tags r:id="rId16"/>
            </p:custDataLst>
          </p:nvPr>
        </p:nvSpPr>
        <p:spPr bwMode="auto">
          <a:xfrm>
            <a:off x="947738" y="5981756"/>
            <a:ext cx="196850" cy="147638"/>
          </a:xfrm>
          <a:prstGeom prst="rect">
            <a:avLst/>
          </a:prstGeom>
          <a:solidFill>
            <a:srgbClr val="364D6E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Текст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195388" y="5989693"/>
            <a:ext cx="34099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8DA837-0FD3-4AAB-98D3-95E358930841}" type="datetime'''Кол-во подгот''овленных ''''НПА Свер''дловской обл''аст''и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Кол-во подготовленных НПА Свердловской области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Текст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95388" y="6229024"/>
            <a:ext cx="3659188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F6AFAA-3BB3-4AE2-95F4-829B99C15B94}" type="datetime'Кол-во полученных ''заключений независимых экспер''т''о''в'''">
              <a:rPr lang="ru-RU" altLang="en-US" sz="11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Кол-во полученных заключений независимых экспертов</a:t>
            </a:fld>
            <a:endParaRPr lang="ru-RU" sz="11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3" name="Текст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12750" y="4949764"/>
            <a:ext cx="361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/>
              <a:t>2022</a:t>
            </a:r>
            <a:endParaRPr lang="ru-RU" sz="1400" dirty="0"/>
          </a:p>
        </p:txBody>
      </p:sp>
      <p:sp>
        <p:nvSpPr>
          <p:cNvPr id="44" name="Текст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644350" y="4813062"/>
            <a:ext cx="361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/>
              <a:t>77</a:t>
            </a:r>
            <a:endParaRPr lang="ru-RU" sz="1400" dirty="0"/>
          </a:p>
        </p:txBody>
      </p:sp>
      <p:sp>
        <p:nvSpPr>
          <p:cNvPr id="45" name="Текст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081843" y="5061404"/>
            <a:ext cx="361950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/>
              <a:t>4</a:t>
            </a:r>
            <a:endParaRPr lang="ru-RU" sz="1400" dirty="0"/>
          </a:p>
        </p:txBody>
      </p:sp>
      <p:sp>
        <p:nvSpPr>
          <p:cNvPr id="46" name="Rectangle 1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9438121" y="57247"/>
            <a:ext cx="1016998" cy="481744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447" tIns="0" rIns="3447" bIns="0" anchor="ctr">
            <a:noAutofit/>
          </a:bodyPr>
          <a:lstStyle/>
          <a:p>
            <a:pPr defTabSz="809934">
              <a:buClr>
                <a:schemeClr val="tx2"/>
              </a:buClr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VII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О ведении страницы Министерства </a:t>
            </a:r>
          </a:p>
          <a:p>
            <a:pPr defTabSz="809934">
              <a:buClr>
                <a:schemeClr val="tx2"/>
              </a:buClr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в социальн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е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58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14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1" name="Слайд think-cell" r:id="rId19" imgW="347" imgH="348" progId="TCLayout.ActiveDocument.1">
                  <p:embed/>
                </p:oleObj>
              </mc:Choice>
              <mc:Fallback>
                <p:oleObj name="Слайд think-cell" r:id="rId1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D8E9B7-81DB-421D-8B10-379E1C538B62}" type="slidenum">
              <a:rPr lang="ru-RU" smtClean="0"/>
              <a:t>6</a:t>
            </a:fld>
            <a:endParaRPr lang="ru-RU" dirty="0"/>
          </a:p>
        </p:txBody>
      </p:sp>
      <p:sp>
        <p:nvSpPr>
          <p:cNvPr id="39" name="Title 1"/>
          <p:cNvSpPr txBox="1">
            <a:spLocks/>
          </p:cNvSpPr>
          <p:nvPr/>
        </p:nvSpPr>
        <p:spPr bwMode="auto">
          <a:xfrm>
            <a:off x="209549" y="760273"/>
            <a:ext cx="11967974" cy="47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Уведомлений о </a:t>
            </a:r>
            <a:r>
              <a:rPr lang="ru-RU" sz="1544" kern="0" dirty="0">
                <a:solidFill>
                  <a:srgbClr val="002960"/>
                </a:solidFill>
                <a:latin typeface="Arial"/>
              </a:rPr>
              <a:t>фактах склонения государственных гражданских служащих Министерства к совершению коррупционных </a:t>
            </a:r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правонарушений в 2022 году не поступало</a:t>
            </a:r>
            <a:endParaRPr lang="en-US" sz="1544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40" name="Title 1"/>
          <p:cNvSpPr txBox="1">
            <a:spLocks/>
          </p:cNvSpPr>
          <p:nvPr/>
        </p:nvSpPr>
        <p:spPr bwMode="auto">
          <a:xfrm>
            <a:off x="209549" y="1328115"/>
            <a:ext cx="4814698" cy="47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544" b="0" kern="0" dirty="0" smtClean="0">
                <a:solidFill>
                  <a:schemeClr val="accent1">
                    <a:lumMod val="75000"/>
                  </a:schemeClr>
                </a:solidFill>
                <a:latin typeface="Arial"/>
              </a:rPr>
              <a:t>Сообщения </a:t>
            </a:r>
            <a:r>
              <a:rPr lang="ru-RU" sz="1544" b="0" kern="0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о фактах коррупционных </a:t>
            </a:r>
            <a:r>
              <a:rPr lang="ru-RU" sz="1544" b="0" kern="0" dirty="0" smtClean="0">
                <a:solidFill>
                  <a:schemeClr val="accent1">
                    <a:lumMod val="75000"/>
                  </a:schemeClr>
                </a:solidFill>
                <a:latin typeface="Arial"/>
              </a:rPr>
              <a:t>правонарушений </a:t>
            </a:r>
            <a:r>
              <a:rPr lang="ru-RU" sz="1544" b="0" kern="0" dirty="0" smtClean="0">
                <a:solidFill>
                  <a:srgbClr val="C00000"/>
                </a:solidFill>
                <a:latin typeface="Arial"/>
              </a:rPr>
              <a:t>не поступали </a:t>
            </a:r>
            <a:endParaRPr lang="en-US" sz="1544" b="0" kern="0" dirty="0">
              <a:solidFill>
                <a:srgbClr val="C00000"/>
              </a:solidFill>
              <a:latin typeface="Arial"/>
            </a:endParaRPr>
          </a:p>
        </p:txBody>
      </p:sp>
      <p:sp>
        <p:nvSpPr>
          <p:cNvPr id="42" name="Title 1"/>
          <p:cNvSpPr txBox="1">
            <a:spLocks/>
          </p:cNvSpPr>
          <p:nvPr/>
        </p:nvSpPr>
        <p:spPr bwMode="auto">
          <a:xfrm>
            <a:off x="5634825" y="1328199"/>
            <a:ext cx="6542698" cy="712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544" b="0" kern="0" dirty="0">
                <a:solidFill>
                  <a:schemeClr val="accent1">
                    <a:lumMod val="75000"/>
                  </a:schemeClr>
                </a:solidFill>
                <a:latin typeface="Arial"/>
              </a:rPr>
              <a:t>Нарушений в порядке обеспечения возможности оперативного представления информации гражданами и организациями о фактах коррупции </a:t>
            </a:r>
            <a:r>
              <a:rPr lang="ru-RU" sz="1544" b="0" kern="0" dirty="0" smtClean="0">
                <a:solidFill>
                  <a:srgbClr val="C00000"/>
                </a:solidFill>
                <a:latin typeface="Arial"/>
              </a:rPr>
              <a:t>не выявлено </a:t>
            </a:r>
            <a:endParaRPr lang="en-US" sz="1544" b="0" kern="0" dirty="0">
              <a:solidFill>
                <a:srgbClr val="C00000"/>
              </a:solidFill>
              <a:latin typeface="Arial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67215" y="2721702"/>
            <a:ext cx="565938" cy="565938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430193" y="1935076"/>
            <a:ext cx="1436707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СПОСОБ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ООБЩЕНИЯ</a:t>
            </a:r>
            <a:endParaRPr lang="ru-RU" sz="800" dirty="0" smtClean="0"/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67215" y="3657412"/>
            <a:ext cx="565938" cy="565938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67215" y="4593122"/>
            <a:ext cx="565938" cy="565938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67215" y="5528834"/>
            <a:ext cx="565938" cy="565938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2341473" y="1874483"/>
            <a:ext cx="1838303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КОЛ-ВО ПОСТУПИВШИХ СООБЩЕНИЙ</a:t>
            </a:r>
            <a:endParaRPr lang="ru-RU" sz="800" dirty="0" smtClean="0"/>
          </a:p>
        </p:txBody>
      </p:sp>
      <p:sp>
        <p:nvSpPr>
          <p:cNvPr id="49" name="TextBox 48"/>
          <p:cNvSpPr txBox="1"/>
          <p:nvPr/>
        </p:nvSpPr>
        <p:spPr>
          <a:xfrm>
            <a:off x="1823281" y="2806322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824732" y="3707945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833519" y="4697397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823281" y="5580970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430193" y="3472526"/>
            <a:ext cx="3969402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430193" y="4408236"/>
            <a:ext cx="3969402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430193" y="5343946"/>
            <a:ext cx="3969402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37" name="Группа 36"/>
          <p:cNvGrpSpPr/>
          <p:nvPr/>
        </p:nvGrpSpPr>
        <p:grpSpPr>
          <a:xfrm>
            <a:off x="-14478" y="-14754"/>
            <a:ext cx="12192001" cy="723328"/>
            <a:chOff x="-10201" y="3768753"/>
            <a:chExt cx="12192001" cy="723328"/>
          </a:xfrm>
        </p:grpSpPr>
        <p:sp>
          <p:nvSpPr>
            <p:cNvPr id="53" name="Freeform 10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437430" y="3774597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/>
            </a:p>
          </p:txBody>
        </p:sp>
        <p:sp>
          <p:nvSpPr>
            <p:cNvPr id="55" name="Freeform 10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925830" y="3774597"/>
              <a:ext cx="20804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58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9090700" y="3774597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59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7655600" y="3774597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0" name="Freeform 1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-10201" y="3768753"/>
              <a:ext cx="1589831" cy="617167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1" name="Freeform 10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0525800" y="3774597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2" name="Freeform 1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528530" y="3774597"/>
              <a:ext cx="19103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3" name="Freeform 10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994400" y="3774596"/>
              <a:ext cx="1882100" cy="717485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4" name="Rectangle 1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28089" y="3830485"/>
              <a:ext cx="1223532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расходах об имуществе…</a:t>
              </a:r>
            </a:p>
          </p:txBody>
        </p:sp>
        <p:sp>
          <p:nvSpPr>
            <p:cNvPr id="65" name="Прямоугольник 64"/>
            <p:cNvSpPr/>
            <p:nvPr/>
          </p:nvSpPr>
          <p:spPr>
            <a:xfrm>
              <a:off x="83697" y="3817777"/>
              <a:ext cx="1360096" cy="515375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н </a:t>
              </a:r>
              <a:r>
                <a:rPr lang="ru-RU" sz="1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 по противодействию коррупции</a:t>
              </a:r>
            </a:p>
          </p:txBody>
        </p:sp>
        <p:sp>
          <p:nvSpPr>
            <p:cNvPr id="66" name="Rectangle 1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148311" y="3817777"/>
              <a:ext cx="1155454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  <p:sp>
          <p:nvSpPr>
            <p:cNvPr id="67" name="Rectangle 1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699405" y="3817777"/>
              <a:ext cx="1293849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 Результативность антикоррупционной экспертизы</a:t>
              </a:r>
            </a:p>
          </p:txBody>
        </p:sp>
        <p:sp>
          <p:nvSpPr>
            <p:cNvPr id="68" name="Rectangle 1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984455" y="3817777"/>
              <a:ext cx="1106245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 результатах просветительских мероприятий</a:t>
              </a:r>
            </a:p>
          </p:txBody>
        </p:sp>
        <p:sp>
          <p:nvSpPr>
            <p:cNvPr id="69" name="Rectangle 1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0780687" y="3817777"/>
              <a:ext cx="1321438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1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6204124" y="3830485"/>
              <a:ext cx="1378526" cy="540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. Уведомления о коррупционных нарушениях</a:t>
              </a:r>
            </a:p>
          </p:txBody>
        </p:sp>
      </p:grpSp>
      <p:sp>
        <p:nvSpPr>
          <p:cNvPr id="72" name="TextBox 71"/>
          <p:cNvSpPr txBox="1"/>
          <p:nvPr/>
        </p:nvSpPr>
        <p:spPr>
          <a:xfrm>
            <a:off x="2672365" y="2788761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672365" y="3703358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672364" y="4697397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2679251" y="5580970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070122" y="2356718"/>
            <a:ext cx="67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  <a:endParaRPr lang="ru-RU" sz="16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2921553" y="2346162"/>
            <a:ext cx="67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  <a:endParaRPr lang="ru-RU" sz="16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3694949" y="2346162"/>
            <a:ext cx="6781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  <a:endParaRPr lang="ru-RU" sz="1600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452647" y="2785384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3452646" y="3701613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3452646" y="4697397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3452646" y="5580537"/>
            <a:ext cx="11627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dirty="0" smtClean="0"/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4623" y="2212449"/>
            <a:ext cx="4718010" cy="39725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2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401209" y="67901"/>
            <a:ext cx="1012359" cy="481744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447" tIns="0" rIns="3447" bIns="0" anchor="ctr">
            <a:noAutofit/>
          </a:bodyPr>
          <a:lstStyle/>
          <a:p>
            <a:pPr defTabSz="809934">
              <a:buClr>
                <a:schemeClr val="tx2"/>
              </a:buClr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VII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О ведении страницы Министерства </a:t>
            </a:r>
          </a:p>
          <a:p>
            <a:pPr defTabSz="809934">
              <a:buClr>
                <a:schemeClr val="tx2"/>
              </a:buClr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в социальн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е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741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Объект 8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236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9" name="Слайд think-cell" r:id="rId71" imgW="347" imgH="348" progId="TCLayout.ActiveDocument.1">
                  <p:embed/>
                </p:oleObj>
              </mc:Choice>
              <mc:Fallback>
                <p:oleObj name="Слайд think-cell" r:id="rId7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/>
          <p:cNvSpPr txBox="1">
            <a:spLocks/>
          </p:cNvSpPr>
          <p:nvPr/>
        </p:nvSpPr>
        <p:spPr bwMode="auto">
          <a:xfrm>
            <a:off x="209549" y="760273"/>
            <a:ext cx="11967974" cy="47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544" kern="0" dirty="0" smtClean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ветительские мероприятия, направленные </a:t>
            </a:r>
            <a:r>
              <a:rPr lang="ru-RU" sz="1544" kern="0" dirty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оздание в обществе атмосферы нетерпимости к коррупционным проявлениям</a:t>
            </a:r>
            <a:r>
              <a:rPr lang="ru-RU" sz="1544" kern="0" dirty="0" smtClean="0">
                <a:solidFill>
                  <a:srgbClr val="0029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роведенные в 2022 году</a:t>
            </a:r>
            <a:endParaRPr lang="en-US" sz="1544" kern="0" dirty="0">
              <a:solidFill>
                <a:srgbClr val="0029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345114" y="1589520"/>
            <a:ext cx="5302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834795-9796-4717-99AB-729832CB2287}" type="datetime'''''''''я''''''''нв''''''''''''''''''''''''''''''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янв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6" name="Текст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75338" y="1589520"/>
            <a:ext cx="4810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D9E680-7F87-47EA-B5B3-4D1DA5D636AF}" type="datetime'''''''''''''''ф''''''''''''''''е''''''''''''''в''''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фев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7" name="Текст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356351" y="1589520"/>
            <a:ext cx="5302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D428362-820E-4FAE-B24E-9F0C0E44F8F2}" type="datetime'''''м''''а''р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мар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8" name="Текст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886575" y="1589520"/>
            <a:ext cx="5143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518F3-72F3-4213-99B8-BA49810C4D2B}" type="datetime'''''''''''''''''''''''а''п''''''''''''р''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апр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29" name="Текст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400926" y="1589520"/>
            <a:ext cx="5302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C830EB-D8F0-4B43-9B41-881FD261FD39}" type="datetime'''''''''''м''а''''й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май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3" name="Текст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931150" y="1589520"/>
            <a:ext cx="5143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0CD003-7348-4886-A8C8-73882A72A175}" type="datetime'и''''''''''''''''''''''''''ю''''''н''''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юн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0" name="Текст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445501" y="1589520"/>
            <a:ext cx="5302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5BE78E-38FF-4082-A755-7EF4B8EF5C39}" type="datetime'''и''''''''''''''''ю''''''''''''''''''''''''л''''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июл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1" name="Текст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975726" y="1589520"/>
            <a:ext cx="5318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1FB341-6D44-4D2F-9077-4DEB710B3735}" type="datetime'''''''''''''''''''''''а''''''''''''''''''в''г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авг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2" name="Текст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507539" y="1589520"/>
            <a:ext cx="51276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0C4A51-70F1-4213-9E0C-48D399EB7C72}" type="datetime'''с''''''''''''''''е''''''''''''''''''''''''''''''''н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сен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3" name="Текст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020301" y="1589520"/>
            <a:ext cx="531813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DAA93-E38F-4923-8BDC-C1F7832C1AC6}" type="datetime'''''''''о''''''''''''к''''''''''''''''''''''''т''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окт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4" name="Текст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0552113" y="1589520"/>
            <a:ext cx="514350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CE1273-302C-4E10-B537-F4FD2DA33B7D}" type="datetime'''''''''''''''''''''''н''''''о''''''''я''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ноя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5" name="Текст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066464" y="1589520"/>
            <a:ext cx="530225" cy="239713"/>
          </a:xfrm>
          <a:prstGeom prst="rect">
            <a:avLst/>
          </a:prstGeom>
          <a:noFill/>
          <a:ln w="9525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B70991-A3D5-4FD8-ABAB-630704E8C976}" type="datetime'д''''''''''''''''''''е''''''''''''к''''''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дек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8" name="Прямая соединительная линия 77"/>
          <p:cNvCxnSpPr/>
          <p:nvPr>
            <p:custDataLst>
              <p:tags r:id="rId15"/>
            </p:custDataLst>
          </p:nvPr>
        </p:nvCxnSpPr>
        <p:spPr bwMode="auto">
          <a:xfrm flipH="1">
            <a:off x="611209" y="1829233"/>
            <a:ext cx="3154" cy="452711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>
            <p:custDataLst>
              <p:tags r:id="rId16"/>
            </p:custDataLst>
          </p:nvPr>
        </p:nvCxnSpPr>
        <p:spPr bwMode="auto">
          <a:xfrm flipH="1">
            <a:off x="5345113" y="1829233"/>
            <a:ext cx="1" cy="4527116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>
            <p:custDataLst>
              <p:tags r:id="rId17"/>
            </p:custDataLst>
          </p:nvPr>
        </p:nvCxnSpPr>
        <p:spPr bwMode="auto">
          <a:xfrm>
            <a:off x="11596688" y="1829233"/>
            <a:ext cx="0" cy="4527117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>
            <p:custDataLst>
              <p:tags r:id="rId18"/>
            </p:custDataLst>
          </p:nvPr>
        </p:nvCxnSpPr>
        <p:spPr bwMode="auto">
          <a:xfrm>
            <a:off x="614363" y="5174463"/>
            <a:ext cx="109823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1" name="Прямая соединительная линия 380"/>
          <p:cNvCxnSpPr/>
          <p:nvPr>
            <p:custDataLst>
              <p:tags r:id="rId19"/>
            </p:custDataLst>
          </p:nvPr>
        </p:nvCxnSpPr>
        <p:spPr bwMode="auto">
          <a:xfrm>
            <a:off x="614363" y="2298339"/>
            <a:ext cx="10982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2" name="Прямая соединительная линия 381"/>
          <p:cNvCxnSpPr/>
          <p:nvPr>
            <p:custDataLst>
              <p:tags r:id="rId20"/>
            </p:custDataLst>
          </p:nvPr>
        </p:nvCxnSpPr>
        <p:spPr bwMode="auto">
          <a:xfrm>
            <a:off x="624679" y="3135792"/>
            <a:ext cx="10982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>
            <p:custDataLst>
              <p:tags r:id="rId21"/>
            </p:custDataLst>
          </p:nvPr>
        </p:nvCxnSpPr>
        <p:spPr bwMode="auto">
          <a:xfrm>
            <a:off x="624681" y="4680446"/>
            <a:ext cx="10982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6" name="Прямая соединительная линия 385"/>
          <p:cNvCxnSpPr/>
          <p:nvPr>
            <p:custDataLst>
              <p:tags r:id="rId22"/>
            </p:custDataLst>
          </p:nvPr>
        </p:nvCxnSpPr>
        <p:spPr bwMode="auto">
          <a:xfrm>
            <a:off x="624679" y="3495046"/>
            <a:ext cx="10982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3" name="Прямая соединительная линия 382"/>
          <p:cNvCxnSpPr/>
          <p:nvPr>
            <p:custDataLst>
              <p:tags r:id="rId23"/>
            </p:custDataLst>
          </p:nvPr>
        </p:nvCxnSpPr>
        <p:spPr bwMode="auto">
          <a:xfrm>
            <a:off x="624679" y="4097225"/>
            <a:ext cx="10982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7" name="Прямая соединительная линия 386"/>
          <p:cNvCxnSpPr/>
          <p:nvPr>
            <p:custDataLst>
              <p:tags r:id="rId24"/>
            </p:custDataLst>
          </p:nvPr>
        </p:nvCxnSpPr>
        <p:spPr bwMode="auto">
          <a:xfrm>
            <a:off x="624681" y="5855697"/>
            <a:ext cx="10982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>
            <p:custDataLst>
              <p:tags r:id="rId25"/>
            </p:custDataLst>
          </p:nvPr>
        </p:nvCxnSpPr>
        <p:spPr bwMode="auto">
          <a:xfrm>
            <a:off x="611209" y="6356350"/>
            <a:ext cx="1099579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>
            <p:custDataLst>
              <p:tags r:id="rId26"/>
            </p:custDataLst>
          </p:nvPr>
        </p:nvCxnSpPr>
        <p:spPr bwMode="auto">
          <a:xfrm>
            <a:off x="614363" y="1829233"/>
            <a:ext cx="10982325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8" name="Текст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5345112" y="3183278"/>
            <a:ext cx="2586038" cy="274638"/>
          </a:xfrm>
          <a:prstGeom prst="homePlate">
            <a:avLst>
              <a:gd name="adj" fmla="val 1791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4" name="Текст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975726" y="5297461"/>
            <a:ext cx="2192768" cy="336550"/>
          </a:xfrm>
          <a:prstGeom prst="homePlate">
            <a:avLst>
              <a:gd name="adj" fmla="val 1791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7" name="Текст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354639" y="3671726"/>
            <a:ext cx="6198908" cy="298449"/>
          </a:xfrm>
          <a:prstGeom prst="homePlate">
            <a:avLst>
              <a:gd name="adj" fmla="val 1791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26" name="Текст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122070" y="4811643"/>
            <a:ext cx="1018334" cy="292610"/>
          </a:xfrm>
          <a:prstGeom prst="homePlate">
            <a:avLst>
              <a:gd name="adj" fmla="val 1791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77" name="Ромб 376"/>
          <p:cNvSpPr/>
          <p:nvPr>
            <p:custDataLst>
              <p:tags r:id="rId31"/>
            </p:custDataLst>
          </p:nvPr>
        </p:nvSpPr>
        <p:spPr bwMode="gray">
          <a:xfrm>
            <a:off x="10183835" y="1934291"/>
            <a:ext cx="114300" cy="114300"/>
          </a:xfrm>
          <a:prstGeom prst="diamond">
            <a:avLst/>
          </a:prstGeom>
          <a:solidFill>
            <a:srgbClr val="364D6E"/>
          </a:solidFill>
          <a:ln w="9525" cap="flat" cmpd="sng" algn="ctr">
            <a:solidFill>
              <a:srgbClr val="364D6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5" name="Ромб 404"/>
          <p:cNvSpPr/>
          <p:nvPr>
            <p:custDataLst>
              <p:tags r:id="rId32"/>
            </p:custDataLst>
          </p:nvPr>
        </p:nvSpPr>
        <p:spPr bwMode="gray">
          <a:xfrm>
            <a:off x="11096626" y="5903162"/>
            <a:ext cx="114300" cy="114300"/>
          </a:xfrm>
          <a:prstGeom prst="diamond">
            <a:avLst/>
          </a:prstGeom>
          <a:solidFill>
            <a:srgbClr val="4C6C9C"/>
          </a:solidFill>
          <a:ln w="9525" cap="flat" cmpd="sng" algn="ctr">
            <a:solidFill>
              <a:srgbClr val="4C6C9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3" name="Ромб 372"/>
          <p:cNvSpPr/>
          <p:nvPr>
            <p:custDataLst>
              <p:tags r:id="rId33"/>
            </p:custDataLst>
          </p:nvPr>
        </p:nvSpPr>
        <p:spPr bwMode="gray">
          <a:xfrm>
            <a:off x="5988072" y="1934625"/>
            <a:ext cx="114300" cy="114300"/>
          </a:xfrm>
          <a:prstGeom prst="diamond">
            <a:avLst/>
          </a:prstGeom>
          <a:solidFill>
            <a:srgbClr val="364D6E"/>
          </a:solidFill>
          <a:ln w="9525" cap="flat" cmpd="sng" algn="ctr">
            <a:solidFill>
              <a:srgbClr val="364D6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8" name="Ромб 387"/>
          <p:cNvSpPr/>
          <p:nvPr>
            <p:custDataLst>
              <p:tags r:id="rId34"/>
            </p:custDataLst>
          </p:nvPr>
        </p:nvSpPr>
        <p:spPr bwMode="gray">
          <a:xfrm>
            <a:off x="8235951" y="2475178"/>
            <a:ext cx="114300" cy="114300"/>
          </a:xfrm>
          <a:prstGeom prst="diamond">
            <a:avLst/>
          </a:prstGeom>
          <a:solidFill>
            <a:srgbClr val="364D6E"/>
          </a:solidFill>
          <a:ln w="9525" cap="flat" cmpd="sng" algn="ctr">
            <a:solidFill>
              <a:srgbClr val="364D6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410" name="Текст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798072" y="2095933"/>
            <a:ext cx="8858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1.10.2022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08" name="Текст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610226" y="2106251"/>
            <a:ext cx="8858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0.02.2022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Текст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19931" y="3211626"/>
            <a:ext cx="22320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68E5116-4ACA-4AB2-9137-9DE9811659FB}" type="datetime'Д''екл''''''ар''аци''онна''я'''' ''''''к''амп''а''''ния'''''">
              <a:rPr lang="ru-RU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Декларационная кампания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0" name="Текст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00812" y="4765861"/>
            <a:ext cx="45164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азработан и опубликован обзор на тему правого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егулирования в сфере противодействия коррупции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5" name="Текст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85800" y="3495046"/>
            <a:ext cx="40052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Актуализация существующих и размещение новых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ведений по противодействию коррупции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на официальном сайте Министерства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03" name="Текст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680702" y="6080978"/>
            <a:ext cx="8858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09.12.2022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Текст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16968" y="2347342"/>
            <a:ext cx="43164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лад об итогах мероприятий по антикоррупционному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свещению и взаимодействия с институтами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гражданского общества на заседании Комиссии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о противодействию коррупции в Министерстве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1" name="Текст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85800" y="1613333"/>
            <a:ext cx="1185863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307509A-67E1-48EB-B04F-08B44B31EF78}" type="datetime'''М''е''''''''ро''''п''р''и''''''я''ти''''''''''е'''''">
              <a:rPr lang="ru-RU" altLang="en-US" sz="1400" b="1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Мероприятие</a:t>
            </a:fld>
            <a:endParaRPr lang="ru-RU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 useBgFill="1">
        <p:nvSpPr>
          <p:cNvPr id="406" name="Текст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850188" y="2708318"/>
            <a:ext cx="8858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3.06.2022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Текст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09726" y="1875535"/>
            <a:ext cx="3821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Доклад об итогах работы по противодействию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оррупции на заседании общественного совета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Текст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96892" y="4097225"/>
            <a:ext cx="4186238" cy="576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Наполнение официальной страницы Министерства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на веб-сайте «Вконтакте» материалами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о антикоррупционной тематике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62" name="Текст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09726" y="5903162"/>
            <a:ext cx="43672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13DAC7-AE9C-44F7-8FAB-FDCDB3DEF0F9}" type="thinkcell&lt;?xml version=&quot;1.0&quot; encoding=&quot;UTF-16&quot; standalone=&quot;yes&quot;?&gt;&lt;root reqver=&quot;27037&quot;&gt;&lt;version val=&quot;32718&quot;/&gt;&lt;PersistentType&gt;&lt;m_guid val=&quot;2809ba92-d67a-4969-87f8-f464636df4ae&quot;/&gt;&lt;m_prec&gt;&lt;m_yearfmt&gt;&lt;begin val=&quot;0&quot;/&gt;&lt;end val=&quot;4&quot;/&gt;&lt;/m_yearfmt&gt;&lt;/m_prec&gt;&lt;/PersistentType&gt;&lt;/root&gt;">
              <a:rPr lang="ru-RU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Консультирование граждан о законодательстве, 
регулирующем вопросы противодействия коррупции</a:t>
            </a:fld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98" name="Прямоугольник 397"/>
          <p:cNvSpPr/>
          <p:nvPr/>
        </p:nvSpPr>
        <p:spPr>
          <a:xfrm>
            <a:off x="5472977" y="4747275"/>
            <a:ext cx="240982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Совместно </a:t>
            </a:r>
            <a:r>
              <a:rPr lang="ru-RU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с сетевым изданием «Вопросы российской юстиции»</a:t>
            </a:r>
            <a:endParaRPr lang="ru-RU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-14478" y="-9525"/>
            <a:ext cx="12192001" cy="695631"/>
            <a:chOff x="-10201" y="4648347"/>
            <a:chExt cx="12192001" cy="695631"/>
          </a:xfrm>
        </p:grpSpPr>
        <p:sp>
          <p:nvSpPr>
            <p:cNvPr id="82" name="Freeform 10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994400" y="4654191"/>
              <a:ext cx="18821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10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1437430" y="4654191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10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2925830" y="4654191"/>
              <a:ext cx="20804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10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090700" y="4654191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6" name="Freeform 10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542655" y="4654190"/>
              <a:ext cx="1768945" cy="689788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1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-10201" y="4648347"/>
              <a:ext cx="1589831" cy="617167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8" name="Freeform 10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10525800" y="4654191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Freeform 10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4528530" y="4654191"/>
              <a:ext cx="1747874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Rectangle 11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auto">
            <a:xfrm>
              <a:off x="1628089" y="4708260"/>
              <a:ext cx="1223532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расходах об имуществе…</a:t>
              </a:r>
            </a:p>
          </p:txBody>
        </p:sp>
        <p:sp>
          <p:nvSpPr>
            <p:cNvPr id="91" name="Прямоугольник 90"/>
            <p:cNvSpPr/>
            <p:nvPr/>
          </p:nvSpPr>
          <p:spPr>
            <a:xfrm>
              <a:off x="83697" y="4695552"/>
              <a:ext cx="1360096" cy="515375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н </a:t>
              </a:r>
              <a:r>
                <a:rPr lang="ru-RU" sz="1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 по противодействию коррупции</a:t>
              </a:r>
            </a:p>
          </p:txBody>
        </p:sp>
        <p:sp>
          <p:nvSpPr>
            <p:cNvPr id="92" name="Rectangle 11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auto">
            <a:xfrm>
              <a:off x="3148311" y="4695552"/>
              <a:ext cx="1155454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  <p:sp>
          <p:nvSpPr>
            <p:cNvPr id="93" name="Rectangle 11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auto">
            <a:xfrm>
              <a:off x="4699405" y="4695552"/>
              <a:ext cx="1293849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 Результативность антикоррупционной экспертизы</a:t>
              </a:r>
            </a:p>
          </p:txBody>
        </p:sp>
        <p:sp>
          <p:nvSpPr>
            <p:cNvPr id="94" name="Rectangle 1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auto">
            <a:xfrm>
              <a:off x="6390754" y="4689852"/>
              <a:ext cx="1043946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я о коррупционных нарушениях</a:t>
              </a:r>
            </a:p>
          </p:txBody>
        </p:sp>
        <p:sp>
          <p:nvSpPr>
            <p:cNvPr id="95" name="Rectangle 11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auto">
            <a:xfrm>
              <a:off x="10780687" y="4695552"/>
              <a:ext cx="1321438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Rectangle 11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auto">
            <a:xfrm>
              <a:off x="7742275" y="4732428"/>
              <a:ext cx="1348426" cy="540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VI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. О результатах просветительских мероприятий</a:t>
              </a:r>
            </a:p>
          </p:txBody>
        </p:sp>
      </p:grpSp>
      <p:sp>
        <p:nvSpPr>
          <p:cNvPr id="70" name="Ромб 69"/>
          <p:cNvSpPr/>
          <p:nvPr>
            <p:custDataLst>
              <p:tags r:id="rId47"/>
            </p:custDataLst>
          </p:nvPr>
        </p:nvSpPr>
        <p:spPr bwMode="gray">
          <a:xfrm>
            <a:off x="11403668" y="2455217"/>
            <a:ext cx="114300" cy="114300"/>
          </a:xfrm>
          <a:prstGeom prst="diamond">
            <a:avLst/>
          </a:prstGeom>
          <a:solidFill>
            <a:srgbClr val="364D6E"/>
          </a:solidFill>
          <a:ln w="9525" cap="flat" cmpd="sng" algn="ctr">
            <a:solidFill>
              <a:srgbClr val="364D6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10590255" y="2639744"/>
            <a:ext cx="107914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6.12.2022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Ромб 97"/>
          <p:cNvSpPr/>
          <p:nvPr>
            <p:custDataLst>
              <p:tags r:id="rId48"/>
            </p:custDataLst>
          </p:nvPr>
        </p:nvSpPr>
        <p:spPr bwMode="gray">
          <a:xfrm>
            <a:off x="9841205" y="2478716"/>
            <a:ext cx="114300" cy="114300"/>
          </a:xfrm>
          <a:prstGeom prst="diamond">
            <a:avLst/>
          </a:prstGeom>
          <a:solidFill>
            <a:srgbClr val="364D6E"/>
          </a:solidFill>
          <a:ln w="9525" cap="flat" cmpd="sng" algn="ctr">
            <a:solidFill>
              <a:srgbClr val="364D6E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99" name="Текст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466900" y="2710971"/>
            <a:ext cx="8858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7.09.2022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7277804" y="3665925"/>
            <a:ext cx="251387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i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</a:t>
            </a:r>
            <a:endParaRPr lang="ru-RU" sz="1050" i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Ромб 101"/>
          <p:cNvSpPr/>
          <p:nvPr>
            <p:custDataLst>
              <p:tags r:id="rId50"/>
            </p:custDataLst>
          </p:nvPr>
        </p:nvSpPr>
        <p:spPr bwMode="gray">
          <a:xfrm>
            <a:off x="8085722" y="5924204"/>
            <a:ext cx="114300" cy="114300"/>
          </a:xfrm>
          <a:prstGeom prst="diamond">
            <a:avLst/>
          </a:prstGeom>
          <a:solidFill>
            <a:srgbClr val="4C6C9C"/>
          </a:solidFill>
          <a:ln w="9525" cap="flat" cmpd="sng" algn="ctr">
            <a:solidFill>
              <a:srgbClr val="4C6C9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103" name="Текст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722066" y="6095249"/>
            <a:ext cx="885825" cy="19208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altLang="en-US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4.06.2022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Текст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360969" y="4230242"/>
            <a:ext cx="6198908" cy="298449"/>
          </a:xfrm>
          <a:prstGeom prst="homePlate">
            <a:avLst>
              <a:gd name="adj" fmla="val 17919"/>
            </a:avLst>
          </a:prstGeom>
          <a:solidFill>
            <a:schemeClr val="hlink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90488" tIns="45720" rIns="0" bIns="4572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433116" y="4260457"/>
            <a:ext cx="404195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50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050" i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оянно (по мере появления информационных поводов)</a:t>
            </a:r>
            <a:endParaRPr lang="ru-RU" sz="1050" i="1" dirty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Текст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19989" y="5236611"/>
            <a:ext cx="4516438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Разработан и опубликован информационный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светительский видеоролик на тему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ротиводействия коррупции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5485689" y="5298855"/>
            <a:ext cx="310009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i="1" dirty="0">
                <a:latin typeface="Arial" panose="020B0604020202020204" pitchFamily="34" charset="0"/>
                <a:cs typeface="Arial" panose="020B0604020202020204" pitchFamily="34" charset="0"/>
              </a:rPr>
              <a:t>Совместно </a:t>
            </a:r>
            <a:r>
              <a:rPr lang="ru-RU" sz="1050" i="1" dirty="0" smtClean="0">
                <a:latin typeface="Arial" panose="020B0604020202020204" pitchFamily="34" charset="0"/>
                <a:cs typeface="Arial" panose="020B0604020202020204" pitchFamily="34" charset="0"/>
              </a:rPr>
              <a:t>с УрГЮУ имени В.Ф. Яковлева и общественным советом при Министерстве</a:t>
            </a:r>
            <a:endParaRPr lang="ru-RU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Rectangle 11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9447006" y="79333"/>
            <a:ext cx="1016998" cy="481744"/>
          </a:xfrm>
          <a:prstGeom prst="rect">
            <a:avLst/>
          </a:prstGeom>
          <a:ln>
            <a:noFill/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3447" tIns="0" rIns="3447" bIns="0" anchor="ctr">
            <a:noAutofit/>
          </a:bodyPr>
          <a:lstStyle/>
          <a:p>
            <a:pPr defTabSz="809934">
              <a:buClr>
                <a:schemeClr val="tx2"/>
              </a:buClr>
            </a:pP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VII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О ведении страницы Министерства </a:t>
            </a:r>
          </a:p>
          <a:p>
            <a:pPr defTabSz="809934">
              <a:buClr>
                <a:schemeClr val="tx2"/>
              </a:buClr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в социальной 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ети</a:t>
            </a:r>
            <a:endParaRPr 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1902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 bwMode="auto">
          <a:xfrm>
            <a:off x="209549" y="760273"/>
            <a:ext cx="119679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400" kern="0" dirty="0" smtClean="0">
                <a:solidFill>
                  <a:srgbClr val="002960"/>
                </a:solidFill>
                <a:latin typeface="Arial"/>
              </a:rPr>
              <a:t>В 2022 году продолжено ведение учетной записи </a:t>
            </a:r>
            <a:r>
              <a:rPr lang="ru-RU" sz="1400" kern="0" dirty="0">
                <a:solidFill>
                  <a:srgbClr val="002960"/>
                </a:solidFill>
                <a:latin typeface="Arial"/>
              </a:rPr>
              <a:t>Министерства </a:t>
            </a:r>
            <a:r>
              <a:rPr lang="ru-RU" sz="1400" kern="0" dirty="0" smtClean="0">
                <a:solidFill>
                  <a:srgbClr val="002960"/>
                </a:solidFill>
                <a:latin typeface="Arial"/>
              </a:rPr>
              <a:t>в социальной сети «Вконтакте», включая наполнение ее </a:t>
            </a:r>
            <a:r>
              <a:rPr lang="ru-RU" sz="1400" kern="0" dirty="0">
                <a:solidFill>
                  <a:srgbClr val="002960"/>
                </a:solidFill>
                <a:latin typeface="Arial"/>
              </a:rPr>
              <a:t>материалами по антикоррупционной </a:t>
            </a:r>
            <a:r>
              <a:rPr lang="ru-RU" sz="1400" kern="0" dirty="0" smtClean="0">
                <a:solidFill>
                  <a:srgbClr val="002960"/>
                </a:solidFill>
                <a:latin typeface="Arial"/>
              </a:rPr>
              <a:t>тематике. Совместно с общественным советом при Министерстве и УрГЮУ имени </a:t>
            </a:r>
          </a:p>
          <a:p>
            <a:r>
              <a:rPr lang="ru-RU" sz="1400" kern="0" dirty="0" smtClean="0">
                <a:solidFill>
                  <a:srgbClr val="002960"/>
                </a:solidFill>
                <a:latin typeface="Arial"/>
              </a:rPr>
              <a:t>В.Ф. Яковлева разработан и опубликован </a:t>
            </a:r>
            <a:r>
              <a:rPr lang="ru-RU" sz="1400" kern="0" dirty="0" smtClean="0">
                <a:solidFill>
                  <a:schemeClr val="accent1">
                    <a:lumMod val="50000"/>
                  </a:schemeClr>
                </a:solidFill>
                <a:latin typeface="Arial"/>
                <a:hlinkClick r:id="rId17"/>
              </a:rPr>
              <a:t>информационный просветительский видеоролик </a:t>
            </a:r>
            <a:r>
              <a:rPr lang="ru-RU" sz="1400" kern="0" dirty="0" smtClean="0">
                <a:solidFill>
                  <a:srgbClr val="002960"/>
                </a:solidFill>
                <a:latin typeface="Arial"/>
              </a:rPr>
              <a:t>на тему противодействия коррупции</a:t>
            </a:r>
            <a:endParaRPr lang="en-US" sz="1400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8</a:t>
            </a:fld>
            <a:endParaRPr lang="ru-RU"/>
          </a:p>
        </p:txBody>
      </p:sp>
      <p:grpSp>
        <p:nvGrpSpPr>
          <p:cNvPr id="39" name="Группа 38"/>
          <p:cNvGrpSpPr/>
          <p:nvPr/>
        </p:nvGrpSpPr>
        <p:grpSpPr>
          <a:xfrm>
            <a:off x="-10201" y="-17042"/>
            <a:ext cx="12192001" cy="692526"/>
            <a:chOff x="-10201" y="5514828"/>
            <a:chExt cx="12192001" cy="692526"/>
          </a:xfrm>
        </p:grpSpPr>
        <p:sp>
          <p:nvSpPr>
            <p:cNvPr id="40" name="Freeform 10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999600" y="5520672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41" name="Freeform 10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437430" y="5520672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/>
            </a:p>
          </p:txBody>
        </p:sp>
        <p:sp>
          <p:nvSpPr>
            <p:cNvPr id="42" name="Freeform 10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925830" y="5520672"/>
              <a:ext cx="20804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43" name="Freeform 10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7467970" y="5520672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44" name="Freeform 10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-10201" y="5514828"/>
              <a:ext cx="1589831" cy="617167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45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0525800" y="5520672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46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528530" y="5520672"/>
              <a:ext cx="16919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47" name="Freeform 1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8903070" y="5520672"/>
              <a:ext cx="1843630" cy="686682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48" name="Rectangle 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0780687" y="5553411"/>
              <a:ext cx="1321438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  <a:endParaRPr lang="ru-RU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28089" y="5571072"/>
              <a:ext cx="1223532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расходах об имуществе…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83697" y="5558364"/>
              <a:ext cx="1360096" cy="515375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н </a:t>
              </a:r>
              <a:r>
                <a:rPr lang="ru-RU" sz="1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 по противодействию коррупции</a:t>
              </a:r>
            </a:p>
          </p:txBody>
        </p:sp>
        <p:sp>
          <p:nvSpPr>
            <p:cNvPr id="51" name="Rectangle 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148311" y="5558364"/>
              <a:ext cx="1155454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  <p:sp>
          <p:nvSpPr>
            <p:cNvPr id="52" name="Rectangle 1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699405" y="5558364"/>
              <a:ext cx="1293849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 Результативность антикоррупционной экспертизы</a:t>
              </a:r>
            </a:p>
          </p:txBody>
        </p:sp>
        <p:sp>
          <p:nvSpPr>
            <p:cNvPr id="53" name="Rectangle 1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390754" y="5552664"/>
              <a:ext cx="1043946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я о коррупционных нарушениях</a:t>
              </a:r>
            </a:p>
          </p:txBody>
        </p:sp>
        <p:sp>
          <p:nvSpPr>
            <p:cNvPr id="54" name="Rectangle 1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703324" y="5546051"/>
              <a:ext cx="1106245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 результатах просветительских мероприятий</a:t>
              </a:r>
            </a:p>
          </p:txBody>
        </p:sp>
        <p:sp>
          <p:nvSpPr>
            <p:cNvPr id="55" name="Rectangle 1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100900" y="5591995"/>
              <a:ext cx="1345225" cy="540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VII</a:t>
              </a:r>
              <a:r>
                <a:rPr lang="ru-RU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. О </a:t>
              </a:r>
              <a:r>
                <a:rPr lang="ru-RU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едении страницы Министерства </a:t>
              </a:r>
            </a:p>
            <a:p>
              <a:pPr defTabSz="809934">
                <a:buClr>
                  <a:schemeClr val="tx2"/>
                </a:buClr>
              </a:pPr>
              <a:r>
                <a:rPr lang="ru-RU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 социальной сети</a:t>
              </a:r>
              <a:endParaRPr lang="ru-RU" sz="10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549" y="1566075"/>
            <a:ext cx="11624064" cy="5180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980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479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" name="Слайд think-cell" r:id="rId20" imgW="347" imgH="348" progId="TCLayout.ActiveDocument.1">
                  <p:embed/>
                </p:oleObj>
              </mc:Choice>
              <mc:Fallback>
                <p:oleObj name="Слайд think-cell" r:id="rId20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3600396" y="1496871"/>
            <a:ext cx="8577127" cy="83099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2000">
                <a:srgbClr val="CFE1F3"/>
              </a:gs>
              <a:gs pos="100000">
                <a:schemeClr val="accent1">
                  <a:lumMod val="45000"/>
                  <a:lumOff val="5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209549" y="760273"/>
            <a:ext cx="11967974" cy="47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Реализован комплексный подход в работе по противодействию </a:t>
            </a:r>
            <a:r>
              <a:rPr lang="ru-RU" sz="1544" kern="0" dirty="0">
                <a:solidFill>
                  <a:srgbClr val="002960"/>
                </a:solidFill>
                <a:latin typeface="Arial"/>
              </a:rPr>
              <a:t>коррупции в сфере закупок товаров, работ, услуг для государственных </a:t>
            </a:r>
            <a:r>
              <a:rPr lang="ru-RU" sz="1544" kern="0" dirty="0" smtClean="0">
                <a:solidFill>
                  <a:srgbClr val="002960"/>
                </a:solidFill>
                <a:latin typeface="Arial"/>
              </a:rPr>
              <a:t>нужд</a:t>
            </a:r>
            <a:endParaRPr lang="en-US" sz="1544" kern="0" dirty="0">
              <a:solidFill>
                <a:srgbClr val="002960"/>
              </a:solidFill>
              <a:latin typeface="Arial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00BF15-B828-476D-A17A-9296DAC8F725}" type="slidenum">
              <a:rPr lang="ru-RU" smtClean="0"/>
              <a:t>9</a:t>
            </a:fld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A09A3F80-8A40-4238-87D7-6DD5049FB952}"/>
              </a:ext>
            </a:extLst>
          </p:cNvPr>
          <p:cNvSpPr/>
          <p:nvPr/>
        </p:nvSpPr>
        <p:spPr>
          <a:xfrm>
            <a:off x="48741" y="3230350"/>
            <a:ext cx="219464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Ы УРЕГУЛИРОВАНИЯ КОНФЛИКТОВ ИНТЕРЕСОВ</a:t>
            </a:r>
            <a:endParaRPr lang="ru-RU" sz="1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Соединительная линия уступом 22">
            <a:extLst>
              <a:ext uri="{FF2B5EF4-FFF2-40B4-BE49-F238E27FC236}">
                <a16:creationId xmlns:a16="http://schemas.microsoft.com/office/drawing/2014/main" xmlns="" id="{3ED96795-ED92-4098-AA99-AA8B1DBF2295}"/>
              </a:ext>
            </a:extLst>
          </p:cNvPr>
          <p:cNvCxnSpPr>
            <a:cxnSpLocks/>
          </p:cNvCxnSpPr>
          <p:nvPr/>
        </p:nvCxnSpPr>
        <p:spPr>
          <a:xfrm rot="10800000" flipV="1">
            <a:off x="2742480" y="3707404"/>
            <a:ext cx="244222" cy="1758168"/>
          </a:xfrm>
          <a:prstGeom prst="bentConnector3">
            <a:avLst>
              <a:gd name="adj1" fmla="val 343461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Блок-схема: узел 20">
            <a:extLst>
              <a:ext uri="{FF2B5EF4-FFF2-40B4-BE49-F238E27FC236}">
                <a16:creationId xmlns:a16="http://schemas.microsoft.com/office/drawing/2014/main" xmlns="" id="{8A34269A-97AA-4002-B178-0A62C8BB45CD}"/>
              </a:ext>
            </a:extLst>
          </p:cNvPr>
          <p:cNvSpPr/>
          <p:nvPr/>
        </p:nvSpPr>
        <p:spPr>
          <a:xfrm>
            <a:off x="3054300" y="1630256"/>
            <a:ext cx="479976" cy="448008"/>
          </a:xfrm>
          <a:prstGeom prst="flowChartConnector">
            <a:avLst/>
          </a:prstGeom>
          <a:solidFill>
            <a:schemeClr val="bg1"/>
          </a:solidFill>
          <a:ln w="698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" name="Блок-схема: узел 22">
            <a:extLst>
              <a:ext uri="{FF2B5EF4-FFF2-40B4-BE49-F238E27FC236}">
                <a16:creationId xmlns:a16="http://schemas.microsoft.com/office/drawing/2014/main" xmlns="" id="{E9D02FD9-DC4B-455E-BA0F-AB019E37EC2E}"/>
              </a:ext>
            </a:extLst>
          </p:cNvPr>
          <p:cNvSpPr/>
          <p:nvPr/>
        </p:nvSpPr>
        <p:spPr>
          <a:xfrm>
            <a:off x="3054300" y="3483400"/>
            <a:ext cx="479976" cy="448008"/>
          </a:xfrm>
          <a:prstGeom prst="flowChartConnector">
            <a:avLst/>
          </a:prstGeom>
          <a:solidFill>
            <a:schemeClr val="bg1"/>
          </a:solidFill>
          <a:ln w="698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Блок-схема: узел 24">
            <a:extLst>
              <a:ext uri="{FF2B5EF4-FFF2-40B4-BE49-F238E27FC236}">
                <a16:creationId xmlns:a16="http://schemas.microsoft.com/office/drawing/2014/main" xmlns="" id="{604ACFB9-4CFC-4227-AEA1-7E95BEBAE22F}"/>
              </a:ext>
            </a:extLst>
          </p:cNvPr>
          <p:cNvSpPr/>
          <p:nvPr/>
        </p:nvSpPr>
        <p:spPr>
          <a:xfrm>
            <a:off x="3054300" y="5241568"/>
            <a:ext cx="479976" cy="448008"/>
          </a:xfrm>
          <a:prstGeom prst="flowChartConnector">
            <a:avLst/>
          </a:prstGeom>
          <a:solidFill>
            <a:schemeClr val="bg1"/>
          </a:solidFill>
          <a:ln w="69850">
            <a:solidFill>
              <a:srgbClr val="0070C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B6501FCC-B446-40EE-9740-7634BE6B31A0}"/>
              </a:ext>
            </a:extLst>
          </p:cNvPr>
          <p:cNvSpPr/>
          <p:nvPr/>
        </p:nvSpPr>
        <p:spPr>
          <a:xfrm>
            <a:off x="4584644" y="3483400"/>
            <a:ext cx="257625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лиз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эффективности расходования бюджетных средств 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6246B56C-60C5-4482-ADCA-611DBB2A43F4}"/>
              </a:ext>
            </a:extLst>
          </p:cNvPr>
          <p:cNvSpPr/>
          <p:nvPr/>
        </p:nvSpPr>
        <p:spPr>
          <a:xfrm>
            <a:off x="4584643" y="5062362"/>
            <a:ext cx="25762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обратной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вязи с потенциальными участникам закупок для информирования о возможных коррупционных проявлениях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2BE83A45-F7C1-4BBE-B3E9-92AEB2B5F5F4}"/>
              </a:ext>
            </a:extLst>
          </p:cNvPr>
          <p:cNvSpPr/>
          <p:nvPr/>
        </p:nvSpPr>
        <p:spPr>
          <a:xfrm>
            <a:off x="4584643" y="1496871"/>
            <a:ext cx="25762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ивлечение членов общественного совета Министерства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цели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силения контроля </a:t>
            </a:r>
          </a:p>
        </p:txBody>
      </p:sp>
      <p:cxnSp>
        <p:nvCxnSpPr>
          <p:cNvPr id="43" name="Соединительная линия уступом 10">
            <a:extLst>
              <a:ext uri="{FF2B5EF4-FFF2-40B4-BE49-F238E27FC236}">
                <a16:creationId xmlns:a16="http://schemas.microsoft.com/office/drawing/2014/main" xmlns="" id="{0EC29302-10B2-4602-97F2-EBA0B1F9ACA1}"/>
              </a:ext>
            </a:extLst>
          </p:cNvPr>
          <p:cNvCxnSpPr>
            <a:cxnSpLocks/>
          </p:cNvCxnSpPr>
          <p:nvPr/>
        </p:nvCxnSpPr>
        <p:spPr>
          <a:xfrm rot="10800000" flipH="1">
            <a:off x="2743958" y="1854260"/>
            <a:ext cx="244222" cy="3611312"/>
          </a:xfrm>
          <a:prstGeom prst="bentConnector3">
            <a:avLst>
              <a:gd name="adj1" fmla="val -24346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786607" y="5217685"/>
            <a:ext cx="718890" cy="71889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786045" y="1496871"/>
            <a:ext cx="720012" cy="720012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3786046" y="3373954"/>
            <a:ext cx="720012" cy="734685"/>
            <a:chOff x="5495471" y="1415973"/>
            <a:chExt cx="1062000" cy="1062000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5495471" y="1415973"/>
              <a:ext cx="1062000" cy="1062000"/>
              <a:chOff x="5495471" y="1415973"/>
              <a:chExt cx="1062000" cy="1062000"/>
            </a:xfrm>
          </p:grpSpPr>
          <p:pic>
            <p:nvPicPr>
              <p:cNvPr id="5" name="Рисунок 4"/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5495471" y="1415973"/>
                <a:ext cx="1062000" cy="1062000"/>
              </a:xfrm>
              <a:prstGeom prst="rect">
                <a:avLst/>
              </a:prstGeom>
            </p:spPr>
          </p:pic>
          <p:sp>
            <p:nvSpPr>
              <p:cNvPr id="7" name="Прямоугольник 6"/>
              <p:cNvSpPr/>
              <p:nvPr/>
            </p:nvSpPr>
            <p:spPr>
              <a:xfrm>
                <a:off x="5730844" y="1601944"/>
                <a:ext cx="336581" cy="47632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5612209" y="1534129"/>
              <a:ext cx="612341" cy="612341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-14478" y="-56424"/>
            <a:ext cx="12192002" cy="686682"/>
            <a:chOff x="-14478" y="-56424"/>
            <a:chExt cx="12192002" cy="686682"/>
          </a:xfrm>
        </p:grpSpPr>
        <p:sp>
          <p:nvSpPr>
            <p:cNvPr id="61" name="Freeform 10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995323" y="-5058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2" name="Freeform 10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433153" y="-5058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 dirty="0"/>
            </a:p>
          </p:txBody>
        </p:sp>
        <p:sp>
          <p:nvSpPr>
            <p:cNvPr id="63" name="Freeform 10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921553" y="-50580"/>
              <a:ext cx="20804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5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2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102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4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59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54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8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98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67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5" y="0"/>
                  </a:lnTo>
                  <a:lnTo>
                    <a:pt x="1152" y="288"/>
                  </a:lnTo>
                  <a:lnTo>
                    <a:pt x="1085" y="576"/>
                  </a:lnTo>
                  <a:lnTo>
                    <a:pt x="0" y="576"/>
                  </a:lnTo>
                  <a:lnTo>
                    <a:pt x="67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4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7463693" y="-50580"/>
              <a:ext cx="1656000" cy="612000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5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-14478" y="-56424"/>
              <a:ext cx="1589831" cy="617167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4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6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6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4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1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71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1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081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0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10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7 w 1152"/>
                <a:gd name="connsiteY1" fmla="*/ 0 h 576"/>
                <a:gd name="connsiteX2" fmla="*/ 1152 w 1152"/>
                <a:gd name="connsiteY2" fmla="*/ 288 h 576"/>
                <a:gd name="connsiteX3" fmla="*/ 108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87" y="0"/>
                  </a:lnTo>
                  <a:lnTo>
                    <a:pt x="1152" y="288"/>
                  </a:lnTo>
                  <a:lnTo>
                    <a:pt x="1087" y="576"/>
                  </a:lnTo>
                  <a:lnTo>
                    <a:pt x="0" y="576"/>
                  </a:lnTo>
                  <a:lnTo>
                    <a:pt x="0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6" name="Freeform 1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524253" y="-50580"/>
              <a:ext cx="1691970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7" name="Freeform 10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8853016" y="-50580"/>
              <a:ext cx="1388207" cy="611323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68" name="Rectangle 11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23812" y="-180"/>
              <a:ext cx="1223532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Прием сведений о доходах, расходах об имуществе…</a:t>
              </a:r>
            </a:p>
          </p:txBody>
        </p:sp>
        <p:sp>
          <p:nvSpPr>
            <p:cNvPr id="69" name="Прямоугольник 68"/>
            <p:cNvSpPr/>
            <p:nvPr/>
          </p:nvSpPr>
          <p:spPr>
            <a:xfrm>
              <a:off x="79420" y="-12888"/>
              <a:ext cx="1360096" cy="515375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. 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</a:t>
              </a:r>
              <a:r>
                <a:rPr lang="ru-RU" sz="1000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ан </a:t>
              </a:r>
              <a:r>
                <a:rPr lang="ru-RU" sz="1000" dirty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 по противодействию коррупции</a:t>
              </a:r>
            </a:p>
          </p:txBody>
        </p:sp>
        <p:sp>
          <p:nvSpPr>
            <p:cNvPr id="70" name="Rectangle 1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144034" y="-12888"/>
              <a:ext cx="1155454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III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беспечение функционирования комиссии …</a:t>
              </a:r>
            </a:p>
          </p:txBody>
        </p:sp>
        <p:sp>
          <p:nvSpPr>
            <p:cNvPr id="71" name="Rectangle 11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695128" y="-12888"/>
              <a:ext cx="1293849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V.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 Результативность антикоррупционной экспертизы</a:t>
              </a:r>
            </a:p>
          </p:txBody>
        </p:sp>
        <p:sp>
          <p:nvSpPr>
            <p:cNvPr id="72" name="Rectangle 1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386477" y="-18588"/>
              <a:ext cx="1043946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Уведомления о коррупционных нарушениях</a:t>
              </a:r>
            </a:p>
          </p:txBody>
        </p:sp>
        <p:sp>
          <p:nvSpPr>
            <p:cNvPr id="73" name="Rectangle 1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7699047" y="-25201"/>
              <a:ext cx="1106245" cy="540000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  <a:r>
                <a:rPr lang="ru-RU" sz="10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000" dirty="0">
                  <a:latin typeface="Arial" panose="020B0604020202020204" pitchFamily="34" charset="0"/>
                  <a:cs typeface="Arial" panose="020B0604020202020204" pitchFamily="34" charset="0"/>
                </a:rPr>
                <a:t>О результатах просветительских мероприятий</a:t>
              </a:r>
            </a:p>
          </p:txBody>
        </p:sp>
        <p:sp>
          <p:nvSpPr>
            <p:cNvPr id="74" name="Rectangle 11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9028691" y="33055"/>
              <a:ext cx="1016998" cy="481744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800" dirty="0">
                  <a:latin typeface="Arial" panose="020B0604020202020204" pitchFamily="34" charset="0"/>
                  <a:cs typeface="Arial" panose="020B0604020202020204" pitchFamily="34" charset="0"/>
                </a:rPr>
                <a:t>VII</a:t>
              </a:r>
              <a:r>
                <a:rPr lang="ru-RU" sz="800" dirty="0">
                  <a:latin typeface="Arial" panose="020B0604020202020204" pitchFamily="34" charset="0"/>
                  <a:cs typeface="Arial" panose="020B0604020202020204" pitchFamily="34" charset="0"/>
                </a:rPr>
                <a:t>. О ведении страницы Министерства </a:t>
              </a:r>
            </a:p>
            <a:p>
              <a:pPr defTabSz="809934">
                <a:buClr>
                  <a:schemeClr val="tx2"/>
                </a:buClr>
              </a:pPr>
              <a:r>
                <a:rPr lang="ru-RU" sz="800" dirty="0">
                  <a:latin typeface="Arial" panose="020B0604020202020204" pitchFamily="34" charset="0"/>
                  <a:cs typeface="Arial" panose="020B0604020202020204" pitchFamily="34" charset="0"/>
                </a:rPr>
                <a:t>в социальной </a:t>
              </a:r>
              <a:r>
                <a:rPr lang="ru-RU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ети</a:t>
              </a:r>
              <a:endParaRPr lang="ru-RU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Freeform 10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10113622" y="-56424"/>
              <a:ext cx="2063902" cy="686682"/>
            </a:xfrm>
            <a:custGeom>
              <a:avLst/>
              <a:gdLst>
                <a:gd name="connsiteX0" fmla="*/ 0 w 1152"/>
                <a:gd name="connsiteY0" fmla="*/ 0 h 576"/>
                <a:gd name="connsiteX1" fmla="*/ 1048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48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3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3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83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69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69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6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86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3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3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85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8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58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4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94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77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077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4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12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12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32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20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20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0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57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5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095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45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107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107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  <a:gd name="connsiteX0" fmla="*/ 0 w 1152"/>
                <a:gd name="connsiteY0" fmla="*/ 0 h 576"/>
                <a:gd name="connsiteX1" fmla="*/ 1096 w 1152"/>
                <a:gd name="connsiteY1" fmla="*/ 0 h 576"/>
                <a:gd name="connsiteX2" fmla="*/ 1152 w 1152"/>
                <a:gd name="connsiteY2" fmla="*/ 288 h 576"/>
                <a:gd name="connsiteX3" fmla="*/ 1096 w 1152"/>
                <a:gd name="connsiteY3" fmla="*/ 576 h 576"/>
                <a:gd name="connsiteX4" fmla="*/ 0 w 1152"/>
                <a:gd name="connsiteY4" fmla="*/ 576 h 576"/>
                <a:gd name="connsiteX5" fmla="*/ 56 w 1152"/>
                <a:gd name="connsiteY5" fmla="*/ 288 h 576"/>
                <a:gd name="connsiteX6" fmla="*/ 0 w 1152"/>
                <a:gd name="connsiteY6" fmla="*/ 0 h 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52" h="576">
                  <a:moveTo>
                    <a:pt x="0" y="0"/>
                  </a:moveTo>
                  <a:lnTo>
                    <a:pt x="1096" y="0"/>
                  </a:lnTo>
                  <a:lnTo>
                    <a:pt x="1152" y="288"/>
                  </a:lnTo>
                  <a:lnTo>
                    <a:pt x="1096" y="576"/>
                  </a:lnTo>
                  <a:lnTo>
                    <a:pt x="0" y="576"/>
                  </a:lnTo>
                  <a:lnTo>
                    <a:pt x="56" y="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28575"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none" anchor="ctr">
              <a:noAutofit/>
            </a:bodyPr>
            <a:lstStyle/>
            <a:p>
              <a:endParaRPr lang="ru-RU" sz="1600" b="1"/>
            </a:p>
          </p:txBody>
        </p:sp>
        <p:sp>
          <p:nvSpPr>
            <p:cNvPr id="76" name="Rectangle 1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0357231" y="20743"/>
              <a:ext cx="1740618" cy="540000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3447" tIns="0" rIns="3447" bIns="0" anchor="ctr">
              <a:noAutofit/>
            </a:bodyPr>
            <a:lstStyle/>
            <a:p>
              <a:pPr defTabSz="809934">
                <a:buClr>
                  <a:schemeClr val="tx2"/>
                </a:buClr>
              </a:pPr>
              <a:r>
                <a:rPr lang="en-US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VIII</a:t>
              </a:r>
              <a:r>
                <a:rPr lang="ru-RU" sz="1100" b="1" dirty="0">
                  <a:latin typeface="Arial" panose="020B0604020202020204" pitchFamily="34" charset="0"/>
                  <a:cs typeface="Arial" panose="020B0604020202020204" pitchFamily="34" charset="0"/>
                </a:rPr>
                <a:t>. Противодействие коррупции в сфере закупок</a:t>
              </a:r>
            </a:p>
          </p:txBody>
        </p:sp>
      </p:grpSp>
      <p:sp>
        <p:nvSpPr>
          <p:cNvPr id="13" name="Скругленный прямоугольник 12"/>
          <p:cNvSpPr/>
          <p:nvPr/>
        </p:nvSpPr>
        <p:spPr>
          <a:xfrm>
            <a:off x="7430423" y="1562160"/>
            <a:ext cx="4408139" cy="697612"/>
          </a:xfrm>
          <a:prstGeom prst="roundRect">
            <a:avLst/>
          </a:prstGeom>
          <a:solidFill>
            <a:schemeClr val="accent5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бщественный совет при Министерстве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представители)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9798756" y="2256818"/>
            <a:ext cx="314622" cy="465775"/>
          </a:xfrm>
          <a:prstGeom prst="downArrow">
            <a:avLst/>
          </a:prstGeom>
          <a:solidFill>
            <a:schemeClr val="accent1">
              <a:lumMod val="40000"/>
              <a:lumOff val="6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Стрелка вниз 77"/>
          <p:cNvSpPr/>
          <p:nvPr/>
        </p:nvSpPr>
        <p:spPr>
          <a:xfrm>
            <a:off x="11434820" y="2255188"/>
            <a:ext cx="314622" cy="2962497"/>
          </a:xfrm>
          <a:prstGeom prst="downArrow">
            <a:avLst/>
          </a:prstGeom>
          <a:solidFill>
            <a:schemeClr val="accent1">
              <a:lumMod val="40000"/>
              <a:lumOff val="6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" name="Стрелка вниз 78"/>
          <p:cNvSpPr/>
          <p:nvPr/>
        </p:nvSpPr>
        <p:spPr>
          <a:xfrm>
            <a:off x="10782743" y="2255189"/>
            <a:ext cx="314622" cy="1744603"/>
          </a:xfrm>
          <a:prstGeom prst="downArrow">
            <a:avLst/>
          </a:prstGeom>
          <a:solidFill>
            <a:schemeClr val="accent1">
              <a:lumMod val="40000"/>
              <a:lumOff val="6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7458539" y="2712719"/>
            <a:ext cx="3140305" cy="10938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миссия по проведению экспертиз результатов, предусмотренных государственными контрактами на оказание услуг, предоставляемых статистическими ведомствами различных уровней государственного управления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7908008" y="3999793"/>
            <a:ext cx="3278221" cy="10571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диная комиссия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 осуществлению закупок для </a:t>
            </a:r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ужд Министерства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экономики </a:t>
            </a:r>
            <a:endParaRPr lang="ru-RU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ru-RU" sz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ерриториального </a:t>
            </a:r>
            <a:r>
              <a:rPr lang="ru-RU" sz="120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звития </a:t>
            </a:r>
            <a:endParaRPr lang="ru-RU" sz="1200" smtClean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ru-RU" sz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вердловской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ласти</a:t>
            </a:r>
          </a:p>
        </p:txBody>
      </p:sp>
      <p:sp>
        <p:nvSpPr>
          <p:cNvPr id="83" name="Скругленный прямоугольник 82"/>
          <p:cNvSpPr/>
          <p:nvPr/>
        </p:nvSpPr>
        <p:spPr>
          <a:xfrm>
            <a:off x="9299643" y="5217685"/>
            <a:ext cx="2558039" cy="1114729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омиссия для проведения экспертизы предоставленных исполнителями результатов по государственным контрактам на оказание рейтинговых действий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219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1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rv6QwmMDHiYlnhjMzEy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yMJ6gJaTHioVFuK7L0z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iqaIo3CVsIoer_ZJbBJ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fiFJMvTjgRR.IYEyzQa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SICGlSIwGEdC.rx.V_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d63vvKElF1JqfWzvT3r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iusiN1Z4vxSwCWMGnAO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lWo9AONeH3DFaw05gSA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dnVv5sPmcet5wJc11ib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SuLOc8yp_l9hM67irS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SCwRlT0.rlF9ClaV9Ds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aKDT9TPezKk3t1Jx.0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y6LvpCKOUmau1JjRb_K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x7_NQ8aFxSmkeaC41J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._AK_sQKu1cs8es0H2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v.uMxVx58qg2rbk.hdP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pF44M8wANzbdQErOPCo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VM6JZDecH0BqMf.579r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qBpzrqTP8dnzg_rXwrb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HBIFwtd2Nzws12NdLF7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S6VdGdubybpN_Vjlez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tl6BBYZiHwsEab1CJCR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9FTXRBlqZL4fx8xciU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.PqZIptsJq5xXLsVbJ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T5oXPuTgl43VGtUDXn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fmqGzTPhXaBqDskeRrk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wWjj3TthLoMMcC9B9Rb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oDeKob4YwsscVnzcYAe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ziLuCDizFXHPQ4MvsL6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HsqU5whDkyjsmQikmZ4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o7W.1_ipeGZcs_.ZY83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ulSX8hry6P7fJ034idm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LoF5IIZuepatdPf3qxR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dt5ikcOBXAP2krTtjo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hDdMLmosFUCYHkbNg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.GNhR4ZGFubOXSQ4RFs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galCRFC7BnxfYlDaHBf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JmZWdeHtJ6uUvgXYTM4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fittaYVbzQQ_KPnnfxf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gL.Qh9Pqqs9DKrzosV0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_SvqPlpLtgM_ZAyCfrG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2TUlQsmicHD4Wp5CUU0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mebKJjhXbIkx29k9Y7N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UbVKrD15UX24nxFtPYa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nJaVlJH7KgRkNwcYwU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tdMfOQE8ImuN_8YK9UL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TXm_QkSooMoeH3SpvO0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hDdMLmosFUCYHkbNgZ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hDdMLmosFUCYHkbNgZ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UbVKrD15UX24nxFtPYa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LoF5IIZuepatdPf3qxR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_SvqPlpLtgM_ZAyCfrG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HsqU5whDkyjsmQikmZ4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fittaYVbzQQ_KPnnfx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p3z7A_Z2B3Q4OVrQiFJ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QmM3cfUSeJgpgBmNV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L1hUpPAt2Nx5yrx6g1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ot9II9pW6SLe96oRMr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O6ttJ3WECglez9xS9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uyXjEMwikhm.qWmrse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InVX2CaIt8gW54tuCr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oZ6N0ceVi.sjZyiBZB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V_6k4lsQwkfrBssTj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_hFg.L8sVt8MKyZWxB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IOo0EYZFzmpzV_ebpY6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JIG8V_yibGUmCEBRRE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98lRFoLlPq6oufA6_ax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InVX2CaIt8gW54tuC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L1hUpPAt2Nx5yrx6g1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02YAFLMVgHba8Og.VE1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2GkwRl7N1CzLRSrimA0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P20.F.Qe6KHSPPvJjA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4BwmLbWgZqY3Yy4c5m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uNGVJ2WiP6p6RMKIcdC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.He7DOw5ovY8BJTMdJ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eC9RDkY1PaBBPaMXxq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K0s9NuBA7sqVgbfC7M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AJXam0IDDoso5SPi1w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Atos0j0SbQY2ph_01z_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fsSfodfn0rsiV1ZJwZ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OaS34LUjmk6ZXmOS4bmo.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QH34wbVfJ4DbJCzTB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yN9UEqVg0cZznCrvWPa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1n5_Lc4w_BWxQgsa0R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CQfRAshuajICeqFYuHO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0Tkgr78MMGK7P1pX5l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b7_JAgTy4H55ZWPbDG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IIeHCIIGoYDuJqjcSG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jf4TDzNKsijRkdzWAqm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u1GCgD3fBKJBFna.F_.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CQfRAshuajICeqFYuH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CQfRAshuajICeqFYuHO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CQfRAshuajICeqFYuHO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PXoJPJZEy9voqfRqr8IA"/>
  <p:tag name="NAME" val="SingleBoatText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784</TotalTime>
  <Words>1225</Words>
  <Application>Microsoft Office PowerPoint</Application>
  <PresentationFormat>Широкоэкранный</PresentationFormat>
  <Paragraphs>253</Paragraphs>
  <Slides>10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Microsoft YaHei</vt:lpstr>
      <vt:lpstr>Arial</vt:lpstr>
      <vt:lpstr>Arial Narrow</vt:lpstr>
      <vt:lpstr>Calibri</vt:lpstr>
      <vt:lpstr>Calibri Light</vt:lpstr>
      <vt:lpstr>Liberation Serif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ушинская Виктория Юрьевна</dc:creator>
  <cp:lastModifiedBy>Лазарев Александр Евгеньевич</cp:lastModifiedBy>
  <cp:revision>218</cp:revision>
  <cp:lastPrinted>2022-02-09T12:21:09Z</cp:lastPrinted>
  <dcterms:created xsi:type="dcterms:W3CDTF">2019-08-07T09:22:09Z</dcterms:created>
  <dcterms:modified xsi:type="dcterms:W3CDTF">2023-02-01T11:37:49Z</dcterms:modified>
</cp:coreProperties>
</file>